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sldIdLst>
    <p:sldId id="256" r:id="rId5"/>
    <p:sldId id="320" r:id="rId6"/>
    <p:sldId id="315" r:id="rId7"/>
    <p:sldId id="317" r:id="rId8"/>
    <p:sldId id="318" r:id="rId9"/>
    <p:sldId id="319" r:id="rId10"/>
    <p:sldId id="313" r:id="rId11"/>
    <p:sldId id="316" r:id="rId12"/>
    <p:sldId id="290" r:id="rId13"/>
    <p:sldId id="312" r:id="rId14"/>
    <p:sldId id="289" r:id="rId15"/>
  </p:sldIdLst>
  <p:sldSz cx="12192000" cy="6858000"/>
  <p:notesSz cx="6858000" cy="9144000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82" d="100"/>
          <a:sy n="82" d="100"/>
        </p:scale>
        <p:origin x="720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6019385-D2D1-8ACE-4F6C-53A5D4663F8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410A4D3E-AE9B-5B57-F6E3-8E23922FC23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F241E7A5-09B1-A417-936A-B3F08BA26C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BEFF9A-9B08-45F2-816C-57B207AA6EA9}" type="datetimeFigureOut">
              <a:rPr lang="cs-CZ" smtClean="0"/>
              <a:t>13.11.2023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C81E2B2-D819-36DD-75D7-1421D6FE7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99FEE45-5F01-F566-CC80-5438BF4FB7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E2F2C1-8474-413D-AA63-9DBD4A2068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9150771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09485A37-8938-948F-8DB6-51C737FDE2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8DD6DE63-8DA1-925F-311E-B5E3EA54F51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E57FEAAA-C3EB-37B8-9DEC-960428E446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BEFF9A-9B08-45F2-816C-57B207AA6EA9}" type="datetimeFigureOut">
              <a:rPr lang="cs-CZ" smtClean="0"/>
              <a:t>13.11.2023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7430F37A-DC2B-92F7-8B0E-7A1529111A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BECC0B67-9F05-5A61-9D75-4BA60AAB59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E2F2C1-8474-413D-AA63-9DBD4A2068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464470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F89CF9E5-469C-6EE5-82BE-AA0E274768D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0F1D9B3F-CE6D-EC28-4554-53248FE6B62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2EEFFE43-A70F-168F-77C6-7833007603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BEFF9A-9B08-45F2-816C-57B207AA6EA9}" type="datetimeFigureOut">
              <a:rPr lang="cs-CZ" smtClean="0"/>
              <a:t>13.11.2023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5545FA84-4432-555F-8FD5-851057654B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9F6320F-6C79-50E0-7123-A0F15679DD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E2F2C1-8474-413D-AA63-9DBD4A2068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4024717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57C1C39-3E19-97EA-D200-B46497BC5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96662C5D-B7F4-44ED-FCFF-376B121A90F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B941B48E-C20B-CB89-3D72-F80CC36734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BEFF9A-9B08-45F2-816C-57B207AA6EA9}" type="datetimeFigureOut">
              <a:rPr lang="cs-CZ" smtClean="0"/>
              <a:t>13.11.2023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E41E4595-67EB-6978-ECE7-687260D40C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5BE7808-D74F-4CDE-27E1-A57A8F7345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E2F2C1-8474-413D-AA63-9DBD4A2068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435002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114708-E0FD-266B-420D-9283641705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11A53F73-1864-0BD0-D468-3CA1914C484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201432B1-C4E6-03B9-9886-877A47C877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BEFF9A-9B08-45F2-816C-57B207AA6EA9}" type="datetimeFigureOut">
              <a:rPr lang="cs-CZ" smtClean="0"/>
              <a:t>13.11.2023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E6449B7D-7731-01DA-56A9-74EAD881ED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9D83636E-5AF2-4F82-16C7-CAB3D2E86C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E2F2C1-8474-413D-AA63-9DBD4A2068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822386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B88F398-C2F0-8D82-BE56-AF2DBE92F4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88A7E596-BAF2-88EF-24BE-E07FE5521AB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A078BCEB-2F6B-1D98-4498-0F4548E8784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09676F94-41FD-242A-F7FE-AFC1AECE10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BEFF9A-9B08-45F2-816C-57B207AA6EA9}" type="datetimeFigureOut">
              <a:rPr lang="cs-CZ" smtClean="0"/>
              <a:t>13.11.2023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1BA8956A-4496-A92B-19D7-22D3E2613E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EF7AD814-3143-F037-129D-64365F783D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E2F2C1-8474-413D-AA63-9DBD4A2068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801256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2BF6824-9D6D-A78B-9E83-AD95640F6C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B280EA37-9260-74FE-068F-906245B9602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A3E13E0F-5713-4B3C-3A13-F3CDFD267E5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EDC26E6F-2FF1-F2EF-A64C-3E4F14CC20D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0ECF7226-3217-2735-30E0-ECA173BDD41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589D3C1C-E0F9-3D19-8E3F-A75033E903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BEFF9A-9B08-45F2-816C-57B207AA6EA9}" type="datetimeFigureOut">
              <a:rPr lang="cs-CZ" smtClean="0"/>
              <a:t>13.11.2023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9C40B9A7-10B9-A02E-8471-12518ED972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903F3B55-7E9F-A9BE-A905-738972D52B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E2F2C1-8474-413D-AA63-9DBD4A2068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0401142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5EF7761-DF6D-CFDF-2D36-54ED158FE0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F3ABAC95-094A-FB9C-18D1-079CE938D4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BEFF9A-9B08-45F2-816C-57B207AA6EA9}" type="datetimeFigureOut">
              <a:rPr lang="cs-CZ" smtClean="0"/>
              <a:t>13.11.2023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8AB9194E-41A8-1A9A-A87E-03FCEC4852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AB84297F-DD47-2B94-2520-66DD109852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E2F2C1-8474-413D-AA63-9DBD4A2068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115478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5C32B585-047C-D77F-C38C-AF1FB4D335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BEFF9A-9B08-45F2-816C-57B207AA6EA9}" type="datetimeFigureOut">
              <a:rPr lang="cs-CZ" smtClean="0"/>
              <a:t>13.11.2023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C078F3C8-FB75-9127-0F15-ADDC3DDA6D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A5D993AE-7B5F-182B-DE12-FC137FA7B3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E2F2C1-8474-413D-AA63-9DBD4A2068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43383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B2779E0-F1FC-C2D0-CABB-04E2D5C91A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76302E17-7EB8-BDA1-C5A3-592F8EC4CBE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D0E2BB14-68E6-346A-5865-ED8BD324DB2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ECDF7B42-3B61-85BA-1B39-379ABED08A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BEFF9A-9B08-45F2-816C-57B207AA6EA9}" type="datetimeFigureOut">
              <a:rPr lang="cs-CZ" smtClean="0"/>
              <a:t>13.11.2023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1EAD1CB5-3FD7-9EA9-BEBA-90A47A2871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FEA5F3CC-98D9-934D-C363-47E5535937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E2F2C1-8474-413D-AA63-9DBD4A2068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9528048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A211A4E-D5B3-E3FF-6B7C-9115F76C35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82FD1E4F-7339-D8B9-F5A6-FA7EB0BA9E3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FBB6BA8F-8807-1F8D-51CA-9A05E82BAAF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4431833F-05F4-8D92-5FC6-179B8242EE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BEFF9A-9B08-45F2-816C-57B207AA6EA9}" type="datetimeFigureOut">
              <a:rPr lang="cs-CZ" smtClean="0"/>
              <a:t>13.11.2023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BF471CF5-6B10-309D-3587-4D61862026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9B6B3A34-D4EA-62F3-EE89-1C8EF942BD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E2F2C1-8474-413D-AA63-9DBD4A2068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710646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F9CDB9F2-54DE-2476-C1D1-BF214F220F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A71480F0-F6EB-F8E5-758B-B505E890D59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ABF5BB6-D987-2F71-5706-C9D3B29844A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8BEFF9A-9B08-45F2-816C-57B207AA6EA9}" type="datetimeFigureOut">
              <a:rPr lang="cs-CZ" smtClean="0"/>
              <a:t>13.11.2023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A2CED7F3-282C-C521-084C-32FD951B57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E47FD72-5737-53C8-1335-5A2BDB5BFC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0E2F2C1-8474-413D-AA63-9DBD4A2068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458807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hyperlink" Target="https://www.idnes.cz/bydleni/panelak/bydleni-v-panelaku.A150917_170218_architektura_web" TargetMode="External"/><Relationship Id="rId4" Type="http://schemas.openxmlformats.org/officeDocument/2006/relationships/hyperlink" Target="https://www.lidovky.cz/relax/design/seda-leta-normalizacni.A181105_115834_ln-bydleni_ape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8">
            <a:extLst>
              <a:ext uri="{FF2B5EF4-FFF2-40B4-BE49-F238E27FC236}">
                <a16:creationId xmlns:a16="http://schemas.microsoft.com/office/drawing/2014/main" id="{F8446B12-7391-4711-8B31-112A0B896C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CAB97BCA-14BD-2690-F21C-B3CA5E70DA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71479" y="5198296"/>
            <a:ext cx="8154955" cy="1400400"/>
          </a:xfrm>
        </p:spPr>
        <p:txBody>
          <a:bodyPr wrap="square" anchor="b">
            <a:noAutofit/>
          </a:bodyPr>
          <a:lstStyle/>
          <a:p>
            <a:r>
              <a:rPr lang="cs-CZ" sz="7200" b="1" dirty="0">
                <a:solidFill>
                  <a:schemeClr val="bg1"/>
                </a:solidFill>
              </a:rPr>
              <a:t>ÚZEMNÍ PLÁNOVÁNÍ A URBANISMUS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2AAB6898-F86A-20E9-F1B8-D844ED043CF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763226" y="4664818"/>
            <a:ext cx="3222609" cy="1766167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 anchor="b">
            <a:normAutofit/>
          </a:bodyPr>
          <a:lstStyle/>
          <a:p>
            <a:br>
              <a:rPr lang="cs-CZ" sz="2000" dirty="0"/>
            </a:br>
            <a:br>
              <a:rPr lang="cs-CZ" sz="2000" dirty="0"/>
            </a:br>
            <a:r>
              <a:rPr lang="cs-CZ" sz="2000" dirty="0"/>
              <a:t>David Gorný</a:t>
            </a:r>
            <a:br>
              <a:rPr lang="cs-CZ" sz="2000" dirty="0"/>
            </a:br>
            <a:r>
              <a:rPr lang="cs-CZ" sz="2000" dirty="0"/>
              <a:t>6. CVIČENÍ</a:t>
            </a:r>
            <a:br>
              <a:rPr lang="cs-CZ" sz="2000" dirty="0"/>
            </a:br>
            <a:r>
              <a:rPr lang="cs-CZ" sz="2000" dirty="0"/>
              <a:t>13.11. 2023</a:t>
            </a:r>
          </a:p>
          <a:p>
            <a:endParaRPr lang="cs-CZ" sz="2000" dirty="0"/>
          </a:p>
        </p:txBody>
      </p:sp>
      <p:grpSp>
        <p:nvGrpSpPr>
          <p:cNvPr id="7" name="Group 10">
            <a:extLst>
              <a:ext uri="{FF2B5EF4-FFF2-40B4-BE49-F238E27FC236}">
                <a16:creationId xmlns:a16="http://schemas.microsoft.com/office/drawing/2014/main" id="{AC0B7807-0C83-4963-821A-69B172722E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0" y="3528992"/>
            <a:ext cx="12192000" cy="757168"/>
            <a:chOff x="0" y="2959818"/>
            <a:chExt cx="12192000" cy="757168"/>
          </a:xfrm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BB027EC7-3252-48A2-A7A4-1741F72E471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2959818"/>
              <a:ext cx="12192000" cy="757168"/>
            </a:xfrm>
            <a:custGeom>
              <a:avLst/>
              <a:gdLst>
                <a:gd name="connsiteX0" fmla="*/ 0 w 12192000"/>
                <a:gd name="connsiteY0" fmla="*/ 0 h 757168"/>
                <a:gd name="connsiteX1" fmla="*/ 41653 w 12192000"/>
                <a:gd name="connsiteY1" fmla="*/ 6945 h 757168"/>
                <a:gd name="connsiteX2" fmla="*/ 81317 w 12192000"/>
                <a:gd name="connsiteY2" fmla="*/ 15509 h 757168"/>
                <a:gd name="connsiteX3" fmla="*/ 114150 w 12192000"/>
                <a:gd name="connsiteY3" fmla="*/ 28105 h 757168"/>
                <a:gd name="connsiteX4" fmla="*/ 214865 w 12192000"/>
                <a:gd name="connsiteY4" fmla="*/ 58374 h 757168"/>
                <a:gd name="connsiteX5" fmla="*/ 299237 w 12192000"/>
                <a:gd name="connsiteY5" fmla="*/ 63560 h 757168"/>
                <a:gd name="connsiteX6" fmla="*/ 415570 w 12192000"/>
                <a:gd name="connsiteY6" fmla="*/ 83774 h 757168"/>
                <a:gd name="connsiteX7" fmla="*/ 633210 w 12192000"/>
                <a:gd name="connsiteY7" fmla="*/ 109108 h 757168"/>
                <a:gd name="connsiteX8" fmla="*/ 677567 w 12192000"/>
                <a:gd name="connsiteY8" fmla="*/ 119446 h 757168"/>
                <a:gd name="connsiteX9" fmla="*/ 946429 w 12192000"/>
                <a:gd name="connsiteY9" fmla="*/ 171502 h 757168"/>
                <a:gd name="connsiteX10" fmla="*/ 1163367 w 12192000"/>
                <a:gd name="connsiteY10" fmla="*/ 182106 h 757168"/>
                <a:gd name="connsiteX11" fmla="*/ 1180337 w 12192000"/>
                <a:gd name="connsiteY11" fmla="*/ 181279 h 757168"/>
                <a:gd name="connsiteX12" fmla="*/ 1263939 w 12192000"/>
                <a:gd name="connsiteY12" fmla="*/ 173070 h 757168"/>
                <a:gd name="connsiteX13" fmla="*/ 1392213 w 12192000"/>
                <a:gd name="connsiteY13" fmla="*/ 183225 h 757168"/>
                <a:gd name="connsiteX14" fmla="*/ 1479752 w 12192000"/>
                <a:gd name="connsiteY14" fmla="*/ 205174 h 757168"/>
                <a:gd name="connsiteX15" fmla="*/ 1589813 w 12192000"/>
                <a:gd name="connsiteY15" fmla="*/ 211706 h 757168"/>
                <a:gd name="connsiteX16" fmla="*/ 1716264 w 12192000"/>
                <a:gd name="connsiteY16" fmla="*/ 207459 h 757168"/>
                <a:gd name="connsiteX17" fmla="*/ 1772900 w 12192000"/>
                <a:gd name="connsiteY17" fmla="*/ 208137 h 757168"/>
                <a:gd name="connsiteX18" fmla="*/ 1929319 w 12192000"/>
                <a:gd name="connsiteY18" fmla="*/ 193822 h 757168"/>
                <a:gd name="connsiteX19" fmla="*/ 2021514 w 12192000"/>
                <a:gd name="connsiteY19" fmla="*/ 204186 h 757168"/>
                <a:gd name="connsiteX20" fmla="*/ 2111753 w 12192000"/>
                <a:gd name="connsiteY20" fmla="*/ 223797 h 757168"/>
                <a:gd name="connsiteX21" fmla="*/ 2169356 w 12192000"/>
                <a:gd name="connsiteY21" fmla="*/ 241125 h 757168"/>
                <a:gd name="connsiteX22" fmla="*/ 2286638 w 12192000"/>
                <a:gd name="connsiteY22" fmla="*/ 257382 h 757168"/>
                <a:gd name="connsiteX23" fmla="*/ 2308368 w 12192000"/>
                <a:gd name="connsiteY23" fmla="*/ 256995 h 757168"/>
                <a:gd name="connsiteX24" fmla="*/ 2660621 w 12192000"/>
                <a:gd name="connsiteY24" fmla="*/ 262863 h 757168"/>
                <a:gd name="connsiteX25" fmla="*/ 2801134 w 12192000"/>
                <a:gd name="connsiteY25" fmla="*/ 250006 h 757168"/>
                <a:gd name="connsiteX26" fmla="*/ 2830994 w 12192000"/>
                <a:gd name="connsiteY26" fmla="*/ 249091 h 757168"/>
                <a:gd name="connsiteX27" fmla="*/ 3129084 w 12192000"/>
                <a:gd name="connsiteY27" fmla="*/ 242009 h 757168"/>
                <a:gd name="connsiteX28" fmla="*/ 3162162 w 12192000"/>
                <a:gd name="connsiteY28" fmla="*/ 242789 h 757168"/>
                <a:gd name="connsiteX29" fmla="*/ 3254072 w 12192000"/>
                <a:gd name="connsiteY29" fmla="*/ 251612 h 757168"/>
                <a:gd name="connsiteX30" fmla="*/ 3473491 w 12192000"/>
                <a:gd name="connsiteY30" fmla="*/ 221903 h 757168"/>
                <a:gd name="connsiteX31" fmla="*/ 3691860 w 12192000"/>
                <a:gd name="connsiteY31" fmla="*/ 219228 h 757168"/>
                <a:gd name="connsiteX32" fmla="*/ 3811494 w 12192000"/>
                <a:gd name="connsiteY32" fmla="*/ 225691 h 757168"/>
                <a:gd name="connsiteX33" fmla="*/ 3897533 w 12192000"/>
                <a:gd name="connsiteY33" fmla="*/ 220087 h 757168"/>
                <a:gd name="connsiteX34" fmla="*/ 4109430 w 12192000"/>
                <a:gd name="connsiteY34" fmla="*/ 200477 h 757168"/>
                <a:gd name="connsiteX35" fmla="*/ 4208772 w 12192000"/>
                <a:gd name="connsiteY35" fmla="*/ 200914 h 757168"/>
                <a:gd name="connsiteX36" fmla="*/ 4314641 w 12192000"/>
                <a:gd name="connsiteY36" fmla="*/ 196159 h 757168"/>
                <a:gd name="connsiteX37" fmla="*/ 4577622 w 12192000"/>
                <a:gd name="connsiteY37" fmla="*/ 163774 h 757168"/>
                <a:gd name="connsiteX38" fmla="*/ 4790345 w 12192000"/>
                <a:gd name="connsiteY38" fmla="*/ 177592 h 757168"/>
                <a:gd name="connsiteX39" fmla="*/ 4926164 w 12192000"/>
                <a:gd name="connsiteY39" fmla="*/ 184139 h 757168"/>
                <a:gd name="connsiteX40" fmla="*/ 5088812 w 12192000"/>
                <a:gd name="connsiteY40" fmla="*/ 177401 h 757168"/>
                <a:gd name="connsiteX41" fmla="*/ 5222466 w 12192000"/>
                <a:gd name="connsiteY41" fmla="*/ 162082 h 757168"/>
                <a:gd name="connsiteX42" fmla="*/ 5406528 w 12192000"/>
                <a:gd name="connsiteY42" fmla="*/ 153987 h 757168"/>
                <a:gd name="connsiteX43" fmla="*/ 5590716 w 12192000"/>
                <a:gd name="connsiteY43" fmla="*/ 129490 h 757168"/>
                <a:gd name="connsiteX44" fmla="*/ 5719429 w 12192000"/>
                <a:gd name="connsiteY44" fmla="*/ 110099 h 757168"/>
                <a:gd name="connsiteX45" fmla="*/ 5897895 w 12192000"/>
                <a:gd name="connsiteY45" fmla="*/ 96368 h 757168"/>
                <a:gd name="connsiteX46" fmla="*/ 6169957 w 12192000"/>
                <a:gd name="connsiteY46" fmla="*/ 94411 h 757168"/>
                <a:gd name="connsiteX47" fmla="*/ 6294827 w 12192000"/>
                <a:gd name="connsiteY47" fmla="*/ 99236 h 757168"/>
                <a:gd name="connsiteX48" fmla="*/ 6494261 w 12192000"/>
                <a:gd name="connsiteY48" fmla="*/ 71724 h 757168"/>
                <a:gd name="connsiteX49" fmla="*/ 6579627 w 12192000"/>
                <a:gd name="connsiteY49" fmla="*/ 57883 h 757168"/>
                <a:gd name="connsiteX50" fmla="*/ 6654800 w 12192000"/>
                <a:gd name="connsiteY50" fmla="*/ 77086 h 757168"/>
                <a:gd name="connsiteX51" fmla="*/ 6703059 w 12192000"/>
                <a:gd name="connsiteY51" fmla="*/ 97166 h 757168"/>
                <a:gd name="connsiteX52" fmla="*/ 6859445 w 12192000"/>
                <a:gd name="connsiteY52" fmla="*/ 90481 h 757168"/>
                <a:gd name="connsiteX53" fmla="*/ 7025414 w 12192000"/>
                <a:gd name="connsiteY53" fmla="*/ 83536 h 757168"/>
                <a:gd name="connsiteX54" fmla="*/ 7144137 w 12192000"/>
                <a:gd name="connsiteY54" fmla="*/ 79264 h 757168"/>
                <a:gd name="connsiteX55" fmla="*/ 7291235 w 12192000"/>
                <a:gd name="connsiteY55" fmla="*/ 95367 h 757168"/>
                <a:gd name="connsiteX56" fmla="*/ 7407395 w 12192000"/>
                <a:gd name="connsiteY56" fmla="*/ 104888 h 757168"/>
                <a:gd name="connsiteX57" fmla="*/ 7500837 w 12192000"/>
                <a:gd name="connsiteY57" fmla="*/ 119515 h 757168"/>
                <a:gd name="connsiteX58" fmla="*/ 7533567 w 12192000"/>
                <a:gd name="connsiteY58" fmla="*/ 126955 h 757168"/>
                <a:gd name="connsiteX59" fmla="*/ 7792910 w 12192000"/>
                <a:gd name="connsiteY59" fmla="*/ 185188 h 757168"/>
                <a:gd name="connsiteX60" fmla="*/ 8070699 w 12192000"/>
                <a:gd name="connsiteY60" fmla="*/ 235423 h 757168"/>
                <a:gd name="connsiteX61" fmla="*/ 8253177 w 12192000"/>
                <a:gd name="connsiteY61" fmla="*/ 222473 h 757168"/>
                <a:gd name="connsiteX62" fmla="*/ 8320683 w 12192000"/>
                <a:gd name="connsiteY62" fmla="*/ 226393 h 757168"/>
                <a:gd name="connsiteX63" fmla="*/ 8631438 w 12192000"/>
                <a:gd name="connsiteY63" fmla="*/ 237528 h 757168"/>
                <a:gd name="connsiteX64" fmla="*/ 8686410 w 12192000"/>
                <a:gd name="connsiteY64" fmla="*/ 234877 h 757168"/>
                <a:gd name="connsiteX65" fmla="*/ 8980658 w 12192000"/>
                <a:gd name="connsiteY65" fmla="*/ 273001 h 757168"/>
                <a:gd name="connsiteX66" fmla="*/ 9087625 w 12192000"/>
                <a:gd name="connsiteY66" fmla="*/ 282423 h 757168"/>
                <a:gd name="connsiteX67" fmla="*/ 9186017 w 12192000"/>
                <a:gd name="connsiteY67" fmla="*/ 293875 h 757168"/>
                <a:gd name="connsiteX68" fmla="*/ 9323931 w 12192000"/>
                <a:gd name="connsiteY68" fmla="*/ 302628 h 757168"/>
                <a:gd name="connsiteX69" fmla="*/ 9467213 w 12192000"/>
                <a:gd name="connsiteY69" fmla="*/ 307275 h 757168"/>
                <a:gd name="connsiteX70" fmla="*/ 9626826 w 12192000"/>
                <a:gd name="connsiteY70" fmla="*/ 316213 h 757168"/>
                <a:gd name="connsiteX71" fmla="*/ 9689696 w 12192000"/>
                <a:gd name="connsiteY71" fmla="*/ 324467 h 757168"/>
                <a:gd name="connsiteX72" fmla="*/ 9860526 w 12192000"/>
                <a:gd name="connsiteY72" fmla="*/ 329986 h 757168"/>
                <a:gd name="connsiteX73" fmla="*/ 9949775 w 12192000"/>
                <a:gd name="connsiteY73" fmla="*/ 340386 h 757168"/>
                <a:gd name="connsiteX74" fmla="*/ 10097252 w 12192000"/>
                <a:gd name="connsiteY74" fmla="*/ 349262 h 757168"/>
                <a:gd name="connsiteX75" fmla="*/ 10145261 w 12192000"/>
                <a:gd name="connsiteY75" fmla="*/ 353113 h 757168"/>
                <a:gd name="connsiteX76" fmla="*/ 10188159 w 12192000"/>
                <a:gd name="connsiteY76" fmla="*/ 356124 h 757168"/>
                <a:gd name="connsiteX77" fmla="*/ 10336144 w 12192000"/>
                <a:gd name="connsiteY77" fmla="*/ 348235 h 757168"/>
                <a:gd name="connsiteX78" fmla="*/ 10466847 w 12192000"/>
                <a:gd name="connsiteY78" fmla="*/ 354131 h 757168"/>
                <a:gd name="connsiteX79" fmla="*/ 10696514 w 12192000"/>
                <a:gd name="connsiteY79" fmla="*/ 353575 h 757168"/>
                <a:gd name="connsiteX80" fmla="*/ 10746932 w 12192000"/>
                <a:gd name="connsiteY80" fmla="*/ 360606 h 757168"/>
                <a:gd name="connsiteX81" fmla="*/ 10905388 w 12192000"/>
                <a:gd name="connsiteY81" fmla="*/ 370627 h 757168"/>
                <a:gd name="connsiteX82" fmla="*/ 10995602 w 12192000"/>
                <a:gd name="connsiteY82" fmla="*/ 376691 h 757168"/>
                <a:gd name="connsiteX83" fmla="*/ 11107647 w 12192000"/>
                <a:gd name="connsiteY83" fmla="*/ 373405 h 757168"/>
                <a:gd name="connsiteX84" fmla="*/ 11302440 w 12192000"/>
                <a:gd name="connsiteY84" fmla="*/ 364156 h 757168"/>
                <a:gd name="connsiteX85" fmla="*/ 11353613 w 12192000"/>
                <a:gd name="connsiteY85" fmla="*/ 363785 h 757168"/>
                <a:gd name="connsiteX86" fmla="*/ 11447323 w 12192000"/>
                <a:gd name="connsiteY86" fmla="*/ 359346 h 757168"/>
                <a:gd name="connsiteX87" fmla="*/ 11464292 w 12192000"/>
                <a:gd name="connsiteY87" fmla="*/ 358519 h 757168"/>
                <a:gd name="connsiteX88" fmla="*/ 11607560 w 12192000"/>
                <a:gd name="connsiteY88" fmla="*/ 342370 h 757168"/>
                <a:gd name="connsiteX89" fmla="*/ 11681426 w 12192000"/>
                <a:gd name="connsiteY89" fmla="*/ 344335 h 757168"/>
                <a:gd name="connsiteX90" fmla="*/ 11893565 w 12192000"/>
                <a:gd name="connsiteY90" fmla="*/ 355261 h 757168"/>
                <a:gd name="connsiteX91" fmla="*/ 11983290 w 12192000"/>
                <a:gd name="connsiteY91" fmla="*/ 363588 h 757168"/>
                <a:gd name="connsiteX92" fmla="*/ 12192000 w 12192000"/>
                <a:gd name="connsiteY92" fmla="*/ 388018 h 757168"/>
                <a:gd name="connsiteX93" fmla="*/ 12192000 w 12192000"/>
                <a:gd name="connsiteY93" fmla="*/ 577115 h 757168"/>
                <a:gd name="connsiteX94" fmla="*/ 12157329 w 12192000"/>
                <a:gd name="connsiteY94" fmla="*/ 588862 h 757168"/>
                <a:gd name="connsiteX95" fmla="*/ 12066948 w 12192000"/>
                <a:gd name="connsiteY95" fmla="*/ 586034 h 757168"/>
                <a:gd name="connsiteX96" fmla="*/ 11911344 w 12192000"/>
                <a:gd name="connsiteY96" fmla="*/ 521599 h 757168"/>
                <a:gd name="connsiteX97" fmla="*/ 11847823 w 12192000"/>
                <a:gd name="connsiteY97" fmla="*/ 511785 h 757168"/>
                <a:gd name="connsiteX98" fmla="*/ 11737547 w 12192000"/>
                <a:gd name="connsiteY98" fmla="*/ 502380 h 757168"/>
                <a:gd name="connsiteX99" fmla="*/ 11636052 w 12192000"/>
                <a:gd name="connsiteY99" fmla="*/ 514993 h 757168"/>
                <a:gd name="connsiteX100" fmla="*/ 11394706 w 12192000"/>
                <a:gd name="connsiteY100" fmla="*/ 590867 h 757168"/>
                <a:gd name="connsiteX101" fmla="*/ 11354978 w 12192000"/>
                <a:gd name="connsiteY101" fmla="*/ 597561 h 757168"/>
                <a:gd name="connsiteX102" fmla="*/ 11285306 w 12192000"/>
                <a:gd name="connsiteY102" fmla="*/ 599825 h 757168"/>
                <a:gd name="connsiteX103" fmla="*/ 11008528 w 12192000"/>
                <a:gd name="connsiteY103" fmla="*/ 656670 h 757168"/>
                <a:gd name="connsiteX104" fmla="*/ 10948735 w 12192000"/>
                <a:gd name="connsiteY104" fmla="*/ 652964 h 757168"/>
                <a:gd name="connsiteX105" fmla="*/ 10850698 w 12192000"/>
                <a:gd name="connsiteY105" fmla="*/ 641721 h 757168"/>
                <a:gd name="connsiteX106" fmla="*/ 10744026 w 12192000"/>
                <a:gd name="connsiteY106" fmla="*/ 647769 h 757168"/>
                <a:gd name="connsiteX107" fmla="*/ 10666160 w 12192000"/>
                <a:gd name="connsiteY107" fmla="*/ 651891 h 757168"/>
                <a:gd name="connsiteX108" fmla="*/ 10450521 w 12192000"/>
                <a:gd name="connsiteY108" fmla="*/ 616552 h 757168"/>
                <a:gd name="connsiteX109" fmla="*/ 10271192 w 12192000"/>
                <a:gd name="connsiteY109" fmla="*/ 583498 h 757168"/>
                <a:gd name="connsiteX110" fmla="*/ 10246067 w 12192000"/>
                <a:gd name="connsiteY110" fmla="*/ 585423 h 757168"/>
                <a:gd name="connsiteX111" fmla="*/ 10005027 w 12192000"/>
                <a:gd name="connsiteY111" fmla="*/ 592252 h 757168"/>
                <a:gd name="connsiteX112" fmla="*/ 9898681 w 12192000"/>
                <a:gd name="connsiteY112" fmla="*/ 613195 h 757168"/>
                <a:gd name="connsiteX113" fmla="*/ 9753225 w 12192000"/>
                <a:gd name="connsiteY113" fmla="*/ 629038 h 757168"/>
                <a:gd name="connsiteX114" fmla="*/ 9591376 w 12192000"/>
                <a:gd name="connsiteY114" fmla="*/ 648601 h 757168"/>
                <a:gd name="connsiteX115" fmla="*/ 9472860 w 12192000"/>
                <a:gd name="connsiteY115" fmla="*/ 655936 h 757168"/>
                <a:gd name="connsiteX116" fmla="*/ 9299788 w 12192000"/>
                <a:gd name="connsiteY116" fmla="*/ 636945 h 757168"/>
                <a:gd name="connsiteX117" fmla="*/ 9264605 w 12192000"/>
                <a:gd name="connsiteY117" fmla="*/ 627087 h 757168"/>
                <a:gd name="connsiteX118" fmla="*/ 8926435 w 12192000"/>
                <a:gd name="connsiteY118" fmla="*/ 549269 h 757168"/>
                <a:gd name="connsiteX119" fmla="*/ 8698934 w 12192000"/>
                <a:gd name="connsiteY119" fmla="*/ 536583 h 757168"/>
                <a:gd name="connsiteX120" fmla="*/ 8622862 w 12192000"/>
                <a:gd name="connsiteY120" fmla="*/ 541563 h 757168"/>
                <a:gd name="connsiteX121" fmla="*/ 8482784 w 12192000"/>
                <a:gd name="connsiteY121" fmla="*/ 574094 h 757168"/>
                <a:gd name="connsiteX122" fmla="*/ 8421565 w 12192000"/>
                <a:gd name="connsiteY122" fmla="*/ 576610 h 757168"/>
                <a:gd name="connsiteX123" fmla="*/ 8313469 w 12192000"/>
                <a:gd name="connsiteY123" fmla="*/ 574762 h 757168"/>
                <a:gd name="connsiteX124" fmla="*/ 8079520 w 12192000"/>
                <a:gd name="connsiteY124" fmla="*/ 558685 h 757168"/>
                <a:gd name="connsiteX125" fmla="*/ 7773327 w 12192000"/>
                <a:gd name="connsiteY125" fmla="*/ 558854 h 757168"/>
                <a:gd name="connsiteX126" fmla="*/ 7652477 w 12192000"/>
                <a:gd name="connsiteY126" fmla="*/ 547561 h 757168"/>
                <a:gd name="connsiteX127" fmla="*/ 7522274 w 12192000"/>
                <a:gd name="connsiteY127" fmla="*/ 532150 h 757168"/>
                <a:gd name="connsiteX128" fmla="*/ 7484080 w 12192000"/>
                <a:gd name="connsiteY128" fmla="*/ 530532 h 757168"/>
                <a:gd name="connsiteX129" fmla="*/ 7282277 w 12192000"/>
                <a:gd name="connsiteY129" fmla="*/ 540177 h 757168"/>
                <a:gd name="connsiteX130" fmla="*/ 7235690 w 12192000"/>
                <a:gd name="connsiteY130" fmla="*/ 551282 h 757168"/>
                <a:gd name="connsiteX131" fmla="*/ 7116339 w 12192000"/>
                <a:gd name="connsiteY131" fmla="*/ 539494 h 757168"/>
                <a:gd name="connsiteX132" fmla="*/ 7011067 w 12192000"/>
                <a:gd name="connsiteY132" fmla="*/ 511848 h 757168"/>
                <a:gd name="connsiteX133" fmla="*/ 6403234 w 12192000"/>
                <a:gd name="connsiteY133" fmla="*/ 432296 h 757168"/>
                <a:gd name="connsiteX134" fmla="*/ 6036273 w 12192000"/>
                <a:gd name="connsiteY134" fmla="*/ 412301 h 757168"/>
                <a:gd name="connsiteX135" fmla="*/ 5780467 w 12192000"/>
                <a:gd name="connsiteY135" fmla="*/ 377910 h 757168"/>
                <a:gd name="connsiteX136" fmla="*/ 5739051 w 12192000"/>
                <a:gd name="connsiteY136" fmla="*/ 353609 h 757168"/>
                <a:gd name="connsiteX137" fmla="*/ 5583566 w 12192000"/>
                <a:gd name="connsiteY137" fmla="*/ 321995 h 757168"/>
                <a:gd name="connsiteX138" fmla="*/ 5432030 w 12192000"/>
                <a:gd name="connsiteY138" fmla="*/ 362512 h 757168"/>
                <a:gd name="connsiteX139" fmla="*/ 5241398 w 12192000"/>
                <a:gd name="connsiteY139" fmla="*/ 425781 h 757168"/>
                <a:gd name="connsiteX140" fmla="*/ 5139710 w 12192000"/>
                <a:gd name="connsiteY140" fmla="*/ 421022 h 757168"/>
                <a:gd name="connsiteX141" fmla="*/ 4929402 w 12192000"/>
                <a:gd name="connsiteY141" fmla="*/ 424310 h 757168"/>
                <a:gd name="connsiteX142" fmla="*/ 4782793 w 12192000"/>
                <a:gd name="connsiteY142" fmla="*/ 441046 h 757168"/>
                <a:gd name="connsiteX143" fmla="*/ 4577594 w 12192000"/>
                <a:gd name="connsiteY143" fmla="*/ 459290 h 757168"/>
                <a:gd name="connsiteX144" fmla="*/ 4500826 w 12192000"/>
                <a:gd name="connsiteY144" fmla="*/ 470529 h 757168"/>
                <a:gd name="connsiteX145" fmla="*/ 4317973 w 12192000"/>
                <a:gd name="connsiteY145" fmla="*/ 483649 h 757168"/>
                <a:gd name="connsiteX146" fmla="*/ 4166722 w 12192000"/>
                <a:gd name="connsiteY146" fmla="*/ 490602 h 757168"/>
                <a:gd name="connsiteX147" fmla="*/ 4042814 w 12192000"/>
                <a:gd name="connsiteY147" fmla="*/ 530660 h 757168"/>
                <a:gd name="connsiteX148" fmla="*/ 4002653 w 12192000"/>
                <a:gd name="connsiteY148" fmla="*/ 552594 h 757168"/>
                <a:gd name="connsiteX149" fmla="*/ 3969549 w 12192000"/>
                <a:gd name="connsiteY149" fmla="*/ 566312 h 757168"/>
                <a:gd name="connsiteX150" fmla="*/ 3821685 w 12192000"/>
                <a:gd name="connsiteY150" fmla="*/ 649183 h 757168"/>
                <a:gd name="connsiteX151" fmla="*/ 3805138 w 12192000"/>
                <a:gd name="connsiteY151" fmla="*/ 655947 h 757168"/>
                <a:gd name="connsiteX152" fmla="*/ 3609177 w 12192000"/>
                <a:gd name="connsiteY152" fmla="*/ 687459 h 757168"/>
                <a:gd name="connsiteX153" fmla="*/ 3539727 w 12192000"/>
                <a:gd name="connsiteY153" fmla="*/ 706521 h 757168"/>
                <a:gd name="connsiteX154" fmla="*/ 3396572 w 12192000"/>
                <a:gd name="connsiteY154" fmla="*/ 755681 h 757168"/>
                <a:gd name="connsiteX155" fmla="*/ 3341054 w 12192000"/>
                <a:gd name="connsiteY155" fmla="*/ 754679 h 757168"/>
                <a:gd name="connsiteX156" fmla="*/ 3138775 w 12192000"/>
                <a:gd name="connsiteY156" fmla="*/ 710120 h 757168"/>
                <a:gd name="connsiteX157" fmla="*/ 3037283 w 12192000"/>
                <a:gd name="connsiteY157" fmla="*/ 666453 h 757168"/>
                <a:gd name="connsiteX158" fmla="*/ 3002117 w 12192000"/>
                <a:gd name="connsiteY158" fmla="*/ 649347 h 757168"/>
                <a:gd name="connsiteX159" fmla="*/ 2747294 w 12192000"/>
                <a:gd name="connsiteY159" fmla="*/ 652400 h 757168"/>
                <a:gd name="connsiteX160" fmla="*/ 2676273 w 12192000"/>
                <a:gd name="connsiteY160" fmla="*/ 652304 h 757168"/>
                <a:gd name="connsiteX161" fmla="*/ 2432360 w 12192000"/>
                <a:gd name="connsiteY161" fmla="*/ 657836 h 757168"/>
                <a:gd name="connsiteX162" fmla="*/ 2382311 w 12192000"/>
                <a:gd name="connsiteY162" fmla="*/ 650824 h 757168"/>
                <a:gd name="connsiteX163" fmla="*/ 2055134 w 12192000"/>
                <a:gd name="connsiteY163" fmla="*/ 630053 h 757168"/>
                <a:gd name="connsiteX164" fmla="*/ 2031829 w 12192000"/>
                <a:gd name="connsiteY164" fmla="*/ 639324 h 757168"/>
                <a:gd name="connsiteX165" fmla="*/ 1912764 w 12192000"/>
                <a:gd name="connsiteY165" fmla="*/ 664183 h 757168"/>
                <a:gd name="connsiteX166" fmla="*/ 1755637 w 12192000"/>
                <a:gd name="connsiteY166" fmla="*/ 663960 h 757168"/>
                <a:gd name="connsiteX167" fmla="*/ 1727159 w 12192000"/>
                <a:gd name="connsiteY167" fmla="*/ 659605 h 757168"/>
                <a:gd name="connsiteX168" fmla="*/ 1622470 w 12192000"/>
                <a:gd name="connsiteY168" fmla="*/ 634850 h 757168"/>
                <a:gd name="connsiteX169" fmla="*/ 1385955 w 12192000"/>
                <a:gd name="connsiteY169" fmla="*/ 604522 h 757168"/>
                <a:gd name="connsiteX170" fmla="*/ 1340055 w 12192000"/>
                <a:gd name="connsiteY170" fmla="*/ 595629 h 757168"/>
                <a:gd name="connsiteX171" fmla="*/ 1257271 w 12192000"/>
                <a:gd name="connsiteY171" fmla="*/ 581180 h 757168"/>
                <a:gd name="connsiteX172" fmla="*/ 1031914 w 12192000"/>
                <a:gd name="connsiteY172" fmla="*/ 562692 h 757168"/>
                <a:gd name="connsiteX173" fmla="*/ 922031 w 12192000"/>
                <a:gd name="connsiteY173" fmla="*/ 566853 h 757168"/>
                <a:gd name="connsiteX174" fmla="*/ 873250 w 12192000"/>
                <a:gd name="connsiteY174" fmla="*/ 563724 h 757168"/>
                <a:gd name="connsiteX175" fmla="*/ 711627 w 12192000"/>
                <a:gd name="connsiteY175" fmla="*/ 529880 h 757168"/>
                <a:gd name="connsiteX176" fmla="*/ 311112 w 12192000"/>
                <a:gd name="connsiteY176" fmla="*/ 525106 h 757168"/>
                <a:gd name="connsiteX177" fmla="*/ 184145 w 12192000"/>
                <a:gd name="connsiteY177" fmla="*/ 532188 h 757168"/>
                <a:gd name="connsiteX178" fmla="*/ 116886 w 12192000"/>
                <a:gd name="connsiteY178" fmla="*/ 530572 h 757168"/>
                <a:gd name="connsiteX179" fmla="*/ 23941 w 12192000"/>
                <a:gd name="connsiteY179" fmla="*/ 506433 h 757168"/>
                <a:gd name="connsiteX180" fmla="*/ 0 w 12192000"/>
                <a:gd name="connsiteY180" fmla="*/ 502149 h 757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</a:cxnLst>
              <a:rect l="l" t="t" r="r" b="b"/>
              <a:pathLst>
                <a:path w="12192000" h="757168">
                  <a:moveTo>
                    <a:pt x="0" y="0"/>
                  </a:moveTo>
                  <a:lnTo>
                    <a:pt x="41653" y="6945"/>
                  </a:lnTo>
                  <a:cubicBezTo>
                    <a:pt x="55151" y="9178"/>
                    <a:pt x="68996" y="11810"/>
                    <a:pt x="81317" y="15509"/>
                  </a:cubicBezTo>
                  <a:cubicBezTo>
                    <a:pt x="92911" y="18978"/>
                    <a:pt x="102562" y="24446"/>
                    <a:pt x="114150" y="28105"/>
                  </a:cubicBezTo>
                  <a:cubicBezTo>
                    <a:pt x="145644" y="37958"/>
                    <a:pt x="177914" y="47281"/>
                    <a:pt x="214865" y="58374"/>
                  </a:cubicBezTo>
                  <a:cubicBezTo>
                    <a:pt x="236680" y="42349"/>
                    <a:pt x="264438" y="53534"/>
                    <a:pt x="299237" y="63560"/>
                  </a:cubicBezTo>
                  <a:cubicBezTo>
                    <a:pt x="334763" y="73816"/>
                    <a:pt x="376093" y="78654"/>
                    <a:pt x="415570" y="83774"/>
                  </a:cubicBezTo>
                  <a:cubicBezTo>
                    <a:pt x="487949" y="93100"/>
                    <a:pt x="560804" y="100354"/>
                    <a:pt x="633210" y="109108"/>
                  </a:cubicBezTo>
                  <a:cubicBezTo>
                    <a:pt x="648566" y="111058"/>
                    <a:pt x="666073" y="114072"/>
                    <a:pt x="677567" y="119446"/>
                  </a:cubicBezTo>
                  <a:cubicBezTo>
                    <a:pt x="756262" y="155621"/>
                    <a:pt x="853422" y="169678"/>
                    <a:pt x="946429" y="171502"/>
                  </a:cubicBezTo>
                  <a:cubicBezTo>
                    <a:pt x="1019582" y="173044"/>
                    <a:pt x="1091239" y="175083"/>
                    <a:pt x="1163367" y="182106"/>
                  </a:cubicBezTo>
                  <a:cubicBezTo>
                    <a:pt x="1168863" y="182586"/>
                    <a:pt x="1176224" y="182589"/>
                    <a:pt x="1180337" y="181279"/>
                  </a:cubicBezTo>
                  <a:cubicBezTo>
                    <a:pt x="1205822" y="172503"/>
                    <a:pt x="1231920" y="173109"/>
                    <a:pt x="1263939" y="173070"/>
                  </a:cubicBezTo>
                  <a:cubicBezTo>
                    <a:pt x="1309211" y="172961"/>
                    <a:pt x="1350592" y="176848"/>
                    <a:pt x="1392213" y="183225"/>
                  </a:cubicBezTo>
                  <a:cubicBezTo>
                    <a:pt x="1422516" y="187866"/>
                    <a:pt x="1453010" y="195759"/>
                    <a:pt x="1479752" y="205174"/>
                  </a:cubicBezTo>
                  <a:cubicBezTo>
                    <a:pt x="1516962" y="218381"/>
                    <a:pt x="1553071" y="224660"/>
                    <a:pt x="1589813" y="211706"/>
                  </a:cubicBezTo>
                  <a:cubicBezTo>
                    <a:pt x="1629541" y="197953"/>
                    <a:pt x="1673292" y="205778"/>
                    <a:pt x="1716264" y="207459"/>
                  </a:cubicBezTo>
                  <a:cubicBezTo>
                    <a:pt x="1734988" y="208248"/>
                    <a:pt x="1754789" y="209668"/>
                    <a:pt x="1772900" y="208137"/>
                  </a:cubicBezTo>
                  <a:cubicBezTo>
                    <a:pt x="1825381" y="203828"/>
                    <a:pt x="1876222" y="195808"/>
                    <a:pt x="1929319" y="193822"/>
                  </a:cubicBezTo>
                  <a:cubicBezTo>
                    <a:pt x="1958819" y="192698"/>
                    <a:pt x="1991232" y="199166"/>
                    <a:pt x="2021514" y="204186"/>
                  </a:cubicBezTo>
                  <a:cubicBezTo>
                    <a:pt x="2052154" y="209417"/>
                    <a:pt x="2082323" y="216530"/>
                    <a:pt x="2111753" y="223797"/>
                  </a:cubicBezTo>
                  <a:cubicBezTo>
                    <a:pt x="2131736" y="228659"/>
                    <a:pt x="2153567" y="233429"/>
                    <a:pt x="2169356" y="241125"/>
                  </a:cubicBezTo>
                  <a:cubicBezTo>
                    <a:pt x="2205243" y="258649"/>
                    <a:pt x="2242901" y="263295"/>
                    <a:pt x="2286638" y="257382"/>
                  </a:cubicBezTo>
                  <a:cubicBezTo>
                    <a:pt x="2293313" y="256396"/>
                    <a:pt x="2301018" y="256799"/>
                    <a:pt x="2308368" y="256995"/>
                  </a:cubicBezTo>
                  <a:cubicBezTo>
                    <a:pt x="2426026" y="259155"/>
                    <a:pt x="2543593" y="262834"/>
                    <a:pt x="2660621" y="262863"/>
                  </a:cubicBezTo>
                  <a:cubicBezTo>
                    <a:pt x="2708088" y="262871"/>
                    <a:pt x="2754165" y="254412"/>
                    <a:pt x="2801134" y="250006"/>
                  </a:cubicBezTo>
                  <a:cubicBezTo>
                    <a:pt x="2810748" y="249174"/>
                    <a:pt x="2821504" y="247638"/>
                    <a:pt x="2830994" y="249091"/>
                  </a:cubicBezTo>
                  <a:cubicBezTo>
                    <a:pt x="2934354" y="264045"/>
                    <a:pt x="3032340" y="255254"/>
                    <a:pt x="3129084" y="242009"/>
                  </a:cubicBezTo>
                  <a:cubicBezTo>
                    <a:pt x="3139090" y="240625"/>
                    <a:pt x="3151170" y="241831"/>
                    <a:pt x="3162162" y="242789"/>
                  </a:cubicBezTo>
                  <a:cubicBezTo>
                    <a:pt x="3192925" y="245736"/>
                    <a:pt x="3225969" y="254145"/>
                    <a:pt x="3254072" y="251612"/>
                  </a:cubicBezTo>
                  <a:cubicBezTo>
                    <a:pt x="3328782" y="244461"/>
                    <a:pt x="3402881" y="234992"/>
                    <a:pt x="3473491" y="221903"/>
                  </a:cubicBezTo>
                  <a:cubicBezTo>
                    <a:pt x="3545212" y="208683"/>
                    <a:pt x="3611651" y="197856"/>
                    <a:pt x="3691860" y="219228"/>
                  </a:cubicBezTo>
                  <a:cubicBezTo>
                    <a:pt x="3725977" y="228268"/>
                    <a:pt x="3771754" y="225515"/>
                    <a:pt x="3811494" y="225691"/>
                  </a:cubicBezTo>
                  <a:cubicBezTo>
                    <a:pt x="3840564" y="225687"/>
                    <a:pt x="3868906" y="218586"/>
                    <a:pt x="3897533" y="220087"/>
                  </a:cubicBezTo>
                  <a:cubicBezTo>
                    <a:pt x="3973874" y="224087"/>
                    <a:pt x="4042293" y="217563"/>
                    <a:pt x="4109430" y="200477"/>
                  </a:cubicBezTo>
                  <a:cubicBezTo>
                    <a:pt x="4135544" y="193834"/>
                    <a:pt x="4175268" y="201258"/>
                    <a:pt x="4208772" y="200914"/>
                  </a:cubicBezTo>
                  <a:cubicBezTo>
                    <a:pt x="4244136" y="200288"/>
                    <a:pt x="4280583" y="199908"/>
                    <a:pt x="4314641" y="196159"/>
                  </a:cubicBezTo>
                  <a:cubicBezTo>
                    <a:pt x="4402743" y="186278"/>
                    <a:pt x="4489848" y="174436"/>
                    <a:pt x="4577622" y="163774"/>
                  </a:cubicBezTo>
                  <a:cubicBezTo>
                    <a:pt x="4649843" y="154967"/>
                    <a:pt x="4719794" y="168553"/>
                    <a:pt x="4790345" y="177592"/>
                  </a:cubicBezTo>
                  <a:cubicBezTo>
                    <a:pt x="4834576" y="183345"/>
                    <a:pt x="4875614" y="193701"/>
                    <a:pt x="4926164" y="184139"/>
                  </a:cubicBezTo>
                  <a:cubicBezTo>
                    <a:pt x="4974485" y="175032"/>
                    <a:pt x="5034899" y="180870"/>
                    <a:pt x="5088812" y="177401"/>
                  </a:cubicBezTo>
                  <a:cubicBezTo>
                    <a:pt x="5134238" y="174439"/>
                    <a:pt x="5178353" y="168165"/>
                    <a:pt x="5222466" y="162082"/>
                  </a:cubicBezTo>
                  <a:cubicBezTo>
                    <a:pt x="5282519" y="153783"/>
                    <a:pt x="5341864" y="144876"/>
                    <a:pt x="5406528" y="153987"/>
                  </a:cubicBezTo>
                  <a:cubicBezTo>
                    <a:pt x="5479960" y="164323"/>
                    <a:pt x="5531876" y="142624"/>
                    <a:pt x="5590716" y="129490"/>
                  </a:cubicBezTo>
                  <a:cubicBezTo>
                    <a:pt x="5631296" y="120553"/>
                    <a:pt x="5675395" y="114659"/>
                    <a:pt x="5719429" y="110099"/>
                  </a:cubicBezTo>
                  <a:cubicBezTo>
                    <a:pt x="5778247" y="104215"/>
                    <a:pt x="5838715" y="102042"/>
                    <a:pt x="5897895" y="96368"/>
                  </a:cubicBezTo>
                  <a:cubicBezTo>
                    <a:pt x="5987399" y="87895"/>
                    <a:pt x="6077855" y="82333"/>
                    <a:pt x="6169957" y="94411"/>
                  </a:cubicBezTo>
                  <a:cubicBezTo>
                    <a:pt x="6212360" y="99875"/>
                    <a:pt x="6252010" y="101763"/>
                    <a:pt x="6294827" y="99236"/>
                  </a:cubicBezTo>
                  <a:cubicBezTo>
                    <a:pt x="6364965" y="95091"/>
                    <a:pt x="6436581" y="97891"/>
                    <a:pt x="6494261" y="71724"/>
                  </a:cubicBezTo>
                  <a:cubicBezTo>
                    <a:pt x="6514615" y="62488"/>
                    <a:pt x="6550354" y="61691"/>
                    <a:pt x="6579627" y="57883"/>
                  </a:cubicBezTo>
                  <a:cubicBezTo>
                    <a:pt x="6613354" y="53353"/>
                    <a:pt x="6637770" y="57878"/>
                    <a:pt x="6654800" y="77086"/>
                  </a:cubicBezTo>
                  <a:cubicBezTo>
                    <a:pt x="6662444" y="85688"/>
                    <a:pt x="6685147" y="94892"/>
                    <a:pt x="6703059" y="97166"/>
                  </a:cubicBezTo>
                  <a:cubicBezTo>
                    <a:pt x="6756799" y="103989"/>
                    <a:pt x="6806654" y="100687"/>
                    <a:pt x="6859445" y="90481"/>
                  </a:cubicBezTo>
                  <a:cubicBezTo>
                    <a:pt x="6908894" y="80861"/>
                    <a:pt x="6969747" y="85387"/>
                    <a:pt x="7025414" y="83536"/>
                  </a:cubicBezTo>
                  <a:cubicBezTo>
                    <a:pt x="7064862" y="82168"/>
                    <a:pt x="7104501" y="77186"/>
                    <a:pt x="7144137" y="79264"/>
                  </a:cubicBezTo>
                  <a:cubicBezTo>
                    <a:pt x="7193316" y="81841"/>
                    <a:pt x="7241809" y="90488"/>
                    <a:pt x="7291235" y="95367"/>
                  </a:cubicBezTo>
                  <a:cubicBezTo>
                    <a:pt x="7329668" y="99288"/>
                    <a:pt x="7368978" y="100585"/>
                    <a:pt x="7407395" y="104888"/>
                  </a:cubicBezTo>
                  <a:cubicBezTo>
                    <a:pt x="7438868" y="108256"/>
                    <a:pt x="7469832" y="114265"/>
                    <a:pt x="7500837" y="119515"/>
                  </a:cubicBezTo>
                  <a:cubicBezTo>
                    <a:pt x="7512146" y="121444"/>
                    <a:pt x="7523255" y="127178"/>
                    <a:pt x="7533567" y="126955"/>
                  </a:cubicBezTo>
                  <a:cubicBezTo>
                    <a:pt x="7636025" y="124121"/>
                    <a:pt x="7707510" y="164497"/>
                    <a:pt x="7792910" y="185188"/>
                  </a:cubicBezTo>
                  <a:cubicBezTo>
                    <a:pt x="7882663" y="207063"/>
                    <a:pt x="7969001" y="237914"/>
                    <a:pt x="8070699" y="235423"/>
                  </a:cubicBezTo>
                  <a:cubicBezTo>
                    <a:pt x="8132239" y="233879"/>
                    <a:pt x="8191903" y="225939"/>
                    <a:pt x="8253177" y="222473"/>
                  </a:cubicBezTo>
                  <a:cubicBezTo>
                    <a:pt x="8274949" y="221324"/>
                    <a:pt x="8299150" y="222976"/>
                    <a:pt x="8320683" y="226393"/>
                  </a:cubicBezTo>
                  <a:cubicBezTo>
                    <a:pt x="8424731" y="242340"/>
                    <a:pt x="8527777" y="249266"/>
                    <a:pt x="8631438" y="237528"/>
                  </a:cubicBezTo>
                  <a:cubicBezTo>
                    <a:pt x="8649201" y="235596"/>
                    <a:pt x="8668058" y="233915"/>
                    <a:pt x="8686410" y="234877"/>
                  </a:cubicBezTo>
                  <a:cubicBezTo>
                    <a:pt x="8786966" y="240146"/>
                    <a:pt x="8885480" y="249315"/>
                    <a:pt x="8980658" y="273001"/>
                  </a:cubicBezTo>
                  <a:cubicBezTo>
                    <a:pt x="9012626" y="280972"/>
                    <a:pt x="9052108" y="279035"/>
                    <a:pt x="9087625" y="282423"/>
                  </a:cubicBezTo>
                  <a:cubicBezTo>
                    <a:pt x="9120583" y="285484"/>
                    <a:pt x="9154319" y="287825"/>
                    <a:pt x="9186017" y="293875"/>
                  </a:cubicBezTo>
                  <a:cubicBezTo>
                    <a:pt x="9232288" y="302785"/>
                    <a:pt x="9275554" y="305815"/>
                    <a:pt x="9323931" y="302628"/>
                  </a:cubicBezTo>
                  <a:cubicBezTo>
                    <a:pt x="9370084" y="299705"/>
                    <a:pt x="9419491" y="304964"/>
                    <a:pt x="9467213" y="307275"/>
                  </a:cubicBezTo>
                  <a:cubicBezTo>
                    <a:pt x="9520438" y="309874"/>
                    <a:pt x="9573661" y="312473"/>
                    <a:pt x="9626826" y="316213"/>
                  </a:cubicBezTo>
                  <a:cubicBezTo>
                    <a:pt x="9648094" y="317708"/>
                    <a:pt x="9671915" y="326588"/>
                    <a:pt x="9689696" y="324467"/>
                  </a:cubicBezTo>
                  <a:cubicBezTo>
                    <a:pt x="9747117" y="317175"/>
                    <a:pt x="9803355" y="332523"/>
                    <a:pt x="9860526" y="329986"/>
                  </a:cubicBezTo>
                  <a:cubicBezTo>
                    <a:pt x="9888572" y="328594"/>
                    <a:pt x="9919723" y="338048"/>
                    <a:pt x="9949775" y="340386"/>
                  </a:cubicBezTo>
                  <a:cubicBezTo>
                    <a:pt x="9998886" y="344296"/>
                    <a:pt x="10048092" y="346302"/>
                    <a:pt x="10097252" y="349262"/>
                  </a:cubicBezTo>
                  <a:cubicBezTo>
                    <a:pt x="10113390" y="350297"/>
                    <a:pt x="10129133" y="351886"/>
                    <a:pt x="10145261" y="353113"/>
                  </a:cubicBezTo>
                  <a:cubicBezTo>
                    <a:pt x="10159555" y="354243"/>
                    <a:pt x="10174512" y="356743"/>
                    <a:pt x="10188159" y="356124"/>
                  </a:cubicBezTo>
                  <a:cubicBezTo>
                    <a:pt x="10237589" y="353944"/>
                    <a:pt x="10286441" y="348682"/>
                    <a:pt x="10336144" y="348235"/>
                  </a:cubicBezTo>
                  <a:cubicBezTo>
                    <a:pt x="10379222" y="347822"/>
                    <a:pt x="10423443" y="353764"/>
                    <a:pt x="10466847" y="354131"/>
                  </a:cubicBezTo>
                  <a:cubicBezTo>
                    <a:pt x="10543353" y="354898"/>
                    <a:pt x="10619988" y="353190"/>
                    <a:pt x="10696514" y="353575"/>
                  </a:cubicBezTo>
                  <a:cubicBezTo>
                    <a:pt x="10713071" y="353680"/>
                    <a:pt x="10730069" y="359342"/>
                    <a:pt x="10746932" y="360606"/>
                  </a:cubicBezTo>
                  <a:cubicBezTo>
                    <a:pt x="10799731" y="364326"/>
                    <a:pt x="10852569" y="367289"/>
                    <a:pt x="10905388" y="370627"/>
                  </a:cubicBezTo>
                  <a:cubicBezTo>
                    <a:pt x="10935470" y="372396"/>
                    <a:pt x="10965963" y="373421"/>
                    <a:pt x="10995602" y="376691"/>
                  </a:cubicBezTo>
                  <a:cubicBezTo>
                    <a:pt x="11034750" y="381032"/>
                    <a:pt x="11070168" y="386324"/>
                    <a:pt x="11107647" y="373405"/>
                  </a:cubicBezTo>
                  <a:cubicBezTo>
                    <a:pt x="11165372" y="353347"/>
                    <a:pt x="11236837" y="366060"/>
                    <a:pt x="11302440" y="364156"/>
                  </a:cubicBezTo>
                  <a:cubicBezTo>
                    <a:pt x="11319394" y="363708"/>
                    <a:pt x="11336655" y="364422"/>
                    <a:pt x="11353613" y="363785"/>
                  </a:cubicBezTo>
                  <a:cubicBezTo>
                    <a:pt x="11384961" y="362566"/>
                    <a:pt x="11415955" y="360947"/>
                    <a:pt x="11447323" y="359346"/>
                  </a:cubicBezTo>
                  <a:cubicBezTo>
                    <a:pt x="11452855" y="359066"/>
                    <a:pt x="11459104" y="359200"/>
                    <a:pt x="11464292" y="358519"/>
                  </a:cubicBezTo>
                  <a:cubicBezTo>
                    <a:pt x="11512058" y="353010"/>
                    <a:pt x="11559143" y="346321"/>
                    <a:pt x="11607560" y="342370"/>
                  </a:cubicBezTo>
                  <a:cubicBezTo>
                    <a:pt x="11631218" y="340368"/>
                    <a:pt x="11657295" y="341352"/>
                    <a:pt x="11681426" y="344335"/>
                  </a:cubicBezTo>
                  <a:cubicBezTo>
                    <a:pt x="11751997" y="352993"/>
                    <a:pt x="11821986" y="358760"/>
                    <a:pt x="11893565" y="355261"/>
                  </a:cubicBezTo>
                  <a:cubicBezTo>
                    <a:pt x="11921973" y="353889"/>
                    <a:pt x="11953288" y="360300"/>
                    <a:pt x="11983290" y="363588"/>
                  </a:cubicBezTo>
                  <a:lnTo>
                    <a:pt x="12192000" y="388018"/>
                  </a:lnTo>
                  <a:lnTo>
                    <a:pt x="12192000" y="577115"/>
                  </a:lnTo>
                  <a:lnTo>
                    <a:pt x="12157329" y="588862"/>
                  </a:lnTo>
                  <a:cubicBezTo>
                    <a:pt x="12118393" y="608572"/>
                    <a:pt x="12109715" y="605637"/>
                    <a:pt x="12066948" y="586034"/>
                  </a:cubicBezTo>
                  <a:cubicBezTo>
                    <a:pt x="12016991" y="563193"/>
                    <a:pt x="11965119" y="541779"/>
                    <a:pt x="11911344" y="521599"/>
                  </a:cubicBezTo>
                  <a:cubicBezTo>
                    <a:pt x="11894383" y="515178"/>
                    <a:pt x="11869417" y="514060"/>
                    <a:pt x="11847823" y="511785"/>
                  </a:cubicBezTo>
                  <a:cubicBezTo>
                    <a:pt x="11811233" y="507768"/>
                    <a:pt x="11773630" y="501982"/>
                    <a:pt x="11737547" y="502380"/>
                  </a:cubicBezTo>
                  <a:cubicBezTo>
                    <a:pt x="11702930" y="502855"/>
                    <a:pt x="11668388" y="508866"/>
                    <a:pt x="11636052" y="514993"/>
                  </a:cubicBezTo>
                  <a:cubicBezTo>
                    <a:pt x="11545722" y="532199"/>
                    <a:pt x="11462455" y="555118"/>
                    <a:pt x="11394706" y="590867"/>
                  </a:cubicBezTo>
                  <a:cubicBezTo>
                    <a:pt x="11385999" y="595562"/>
                    <a:pt x="11369016" y="596581"/>
                    <a:pt x="11354978" y="597561"/>
                  </a:cubicBezTo>
                  <a:cubicBezTo>
                    <a:pt x="11332076" y="599224"/>
                    <a:pt x="11308448" y="600655"/>
                    <a:pt x="11285306" y="599825"/>
                  </a:cubicBezTo>
                  <a:cubicBezTo>
                    <a:pt x="11172906" y="595841"/>
                    <a:pt x="11083430" y="617861"/>
                    <a:pt x="11008528" y="656670"/>
                  </a:cubicBezTo>
                  <a:cubicBezTo>
                    <a:pt x="10986971" y="667750"/>
                    <a:pt x="10970753" y="668236"/>
                    <a:pt x="10948735" y="652964"/>
                  </a:cubicBezTo>
                  <a:cubicBezTo>
                    <a:pt x="10923173" y="635218"/>
                    <a:pt x="10885031" y="639705"/>
                    <a:pt x="10850698" y="641721"/>
                  </a:cubicBezTo>
                  <a:cubicBezTo>
                    <a:pt x="10815269" y="643680"/>
                    <a:pt x="10779458" y="645811"/>
                    <a:pt x="10744026" y="647769"/>
                  </a:cubicBezTo>
                  <a:cubicBezTo>
                    <a:pt x="10717832" y="649066"/>
                    <a:pt x="10692021" y="650003"/>
                    <a:pt x="10666160" y="651891"/>
                  </a:cubicBezTo>
                  <a:cubicBezTo>
                    <a:pt x="10585627" y="657783"/>
                    <a:pt x="10513854" y="650969"/>
                    <a:pt x="10450521" y="616552"/>
                  </a:cubicBezTo>
                  <a:cubicBezTo>
                    <a:pt x="10402221" y="590175"/>
                    <a:pt x="10339099" y="579806"/>
                    <a:pt x="10271192" y="583498"/>
                  </a:cubicBezTo>
                  <a:cubicBezTo>
                    <a:pt x="10262701" y="584006"/>
                    <a:pt x="10251859" y="587254"/>
                    <a:pt x="10246067" y="585423"/>
                  </a:cubicBezTo>
                  <a:cubicBezTo>
                    <a:pt x="10158786" y="558528"/>
                    <a:pt x="10086634" y="594049"/>
                    <a:pt x="10005027" y="592252"/>
                  </a:cubicBezTo>
                  <a:cubicBezTo>
                    <a:pt x="9969004" y="591507"/>
                    <a:pt x="9931565" y="603664"/>
                    <a:pt x="9898681" y="613195"/>
                  </a:cubicBezTo>
                  <a:cubicBezTo>
                    <a:pt x="9853463" y="626281"/>
                    <a:pt x="9813049" y="639042"/>
                    <a:pt x="9753225" y="629038"/>
                  </a:cubicBezTo>
                  <a:cubicBezTo>
                    <a:pt x="9693404" y="618845"/>
                    <a:pt x="9637675" y="628898"/>
                    <a:pt x="9591376" y="648601"/>
                  </a:cubicBezTo>
                  <a:cubicBezTo>
                    <a:pt x="9556001" y="663537"/>
                    <a:pt x="9518120" y="663077"/>
                    <a:pt x="9472860" y="655936"/>
                  </a:cubicBezTo>
                  <a:cubicBezTo>
                    <a:pt x="9416283" y="647056"/>
                    <a:pt x="9357217" y="643578"/>
                    <a:pt x="9299788" y="636945"/>
                  </a:cubicBezTo>
                  <a:cubicBezTo>
                    <a:pt x="9287347" y="635531"/>
                    <a:pt x="9271710" y="632039"/>
                    <a:pt x="9264605" y="627087"/>
                  </a:cubicBezTo>
                  <a:cubicBezTo>
                    <a:pt x="9177661" y="565680"/>
                    <a:pt x="9051076" y="558473"/>
                    <a:pt x="8926435" y="549269"/>
                  </a:cubicBezTo>
                  <a:cubicBezTo>
                    <a:pt x="8850925" y="543595"/>
                    <a:pt x="8774954" y="539613"/>
                    <a:pt x="8698934" y="536583"/>
                  </a:cubicBezTo>
                  <a:cubicBezTo>
                    <a:pt x="8673232" y="535428"/>
                    <a:pt x="8645916" y="537050"/>
                    <a:pt x="8622862" y="541563"/>
                  </a:cubicBezTo>
                  <a:cubicBezTo>
                    <a:pt x="8574890" y="551069"/>
                    <a:pt x="8530403" y="564380"/>
                    <a:pt x="8482784" y="574094"/>
                  </a:cubicBezTo>
                  <a:cubicBezTo>
                    <a:pt x="8464923" y="577929"/>
                    <a:pt x="8442157" y="576927"/>
                    <a:pt x="8421565" y="576610"/>
                  </a:cubicBezTo>
                  <a:cubicBezTo>
                    <a:pt x="8385152" y="576229"/>
                    <a:pt x="8345023" y="569546"/>
                    <a:pt x="8313469" y="574762"/>
                  </a:cubicBezTo>
                  <a:cubicBezTo>
                    <a:pt x="8231431" y="588203"/>
                    <a:pt x="8155671" y="580227"/>
                    <a:pt x="8079520" y="558685"/>
                  </a:cubicBezTo>
                  <a:cubicBezTo>
                    <a:pt x="7972906" y="528487"/>
                    <a:pt x="7870782" y="525043"/>
                    <a:pt x="7773327" y="558854"/>
                  </a:cubicBezTo>
                  <a:cubicBezTo>
                    <a:pt x="7729470" y="574107"/>
                    <a:pt x="7688069" y="563543"/>
                    <a:pt x="7652477" y="547561"/>
                  </a:cubicBezTo>
                  <a:cubicBezTo>
                    <a:pt x="7611494" y="529005"/>
                    <a:pt x="7570974" y="522685"/>
                    <a:pt x="7522274" y="532150"/>
                  </a:cubicBezTo>
                  <a:cubicBezTo>
                    <a:pt x="7511488" y="534257"/>
                    <a:pt x="7496511" y="532136"/>
                    <a:pt x="7484080" y="530532"/>
                  </a:cubicBezTo>
                  <a:cubicBezTo>
                    <a:pt x="7413133" y="522044"/>
                    <a:pt x="7341987" y="510303"/>
                    <a:pt x="7282277" y="540177"/>
                  </a:cubicBezTo>
                  <a:cubicBezTo>
                    <a:pt x="7270558" y="546051"/>
                    <a:pt x="7251336" y="547713"/>
                    <a:pt x="7235690" y="551282"/>
                  </a:cubicBezTo>
                  <a:cubicBezTo>
                    <a:pt x="7170161" y="565782"/>
                    <a:pt x="7172820" y="564203"/>
                    <a:pt x="7116339" y="539494"/>
                  </a:cubicBezTo>
                  <a:cubicBezTo>
                    <a:pt x="7086841" y="526502"/>
                    <a:pt x="7045980" y="512724"/>
                    <a:pt x="7011067" y="511848"/>
                  </a:cubicBezTo>
                  <a:cubicBezTo>
                    <a:pt x="6800473" y="506533"/>
                    <a:pt x="6601893" y="468653"/>
                    <a:pt x="6403234" y="432296"/>
                  </a:cubicBezTo>
                  <a:cubicBezTo>
                    <a:pt x="6280760" y="409851"/>
                    <a:pt x="6160432" y="402592"/>
                    <a:pt x="6036273" y="412301"/>
                  </a:cubicBezTo>
                  <a:cubicBezTo>
                    <a:pt x="5946471" y="419425"/>
                    <a:pt x="5863077" y="395593"/>
                    <a:pt x="5780467" y="377910"/>
                  </a:cubicBezTo>
                  <a:cubicBezTo>
                    <a:pt x="5763357" y="374343"/>
                    <a:pt x="5747757" y="363033"/>
                    <a:pt x="5739051" y="353609"/>
                  </a:cubicBezTo>
                  <a:cubicBezTo>
                    <a:pt x="5707675" y="320294"/>
                    <a:pt x="5653252" y="312483"/>
                    <a:pt x="5583566" y="321995"/>
                  </a:cubicBezTo>
                  <a:cubicBezTo>
                    <a:pt x="5528347" y="329404"/>
                    <a:pt x="5477716" y="340486"/>
                    <a:pt x="5432030" y="362512"/>
                  </a:cubicBezTo>
                  <a:cubicBezTo>
                    <a:pt x="5378421" y="388318"/>
                    <a:pt x="5322767" y="418026"/>
                    <a:pt x="5241398" y="425781"/>
                  </a:cubicBezTo>
                  <a:cubicBezTo>
                    <a:pt x="5206262" y="429089"/>
                    <a:pt x="5176131" y="428273"/>
                    <a:pt x="5139710" y="421022"/>
                  </a:cubicBezTo>
                  <a:cubicBezTo>
                    <a:pt x="5069048" y="407018"/>
                    <a:pt x="4997864" y="396037"/>
                    <a:pt x="4929402" y="424310"/>
                  </a:cubicBezTo>
                  <a:cubicBezTo>
                    <a:pt x="4891785" y="439890"/>
                    <a:pt x="4841650" y="448519"/>
                    <a:pt x="4782793" y="441046"/>
                  </a:cubicBezTo>
                  <a:cubicBezTo>
                    <a:pt x="4709316" y="431663"/>
                    <a:pt x="4641426" y="442031"/>
                    <a:pt x="4577594" y="459290"/>
                  </a:cubicBezTo>
                  <a:cubicBezTo>
                    <a:pt x="4554816" y="465538"/>
                    <a:pt x="4527069" y="468279"/>
                    <a:pt x="4500826" y="470529"/>
                  </a:cubicBezTo>
                  <a:cubicBezTo>
                    <a:pt x="4440199" y="475746"/>
                    <a:pt x="4379252" y="479993"/>
                    <a:pt x="4317973" y="483649"/>
                  </a:cubicBezTo>
                  <a:cubicBezTo>
                    <a:pt x="4267762" y="486741"/>
                    <a:pt x="4217264" y="488292"/>
                    <a:pt x="4166722" y="490602"/>
                  </a:cubicBezTo>
                  <a:cubicBezTo>
                    <a:pt x="4111394" y="493045"/>
                    <a:pt x="4067073" y="503124"/>
                    <a:pt x="4042814" y="530660"/>
                  </a:cubicBezTo>
                  <a:cubicBezTo>
                    <a:pt x="4034996" y="539407"/>
                    <a:pt x="4017001" y="545715"/>
                    <a:pt x="4002653" y="552594"/>
                  </a:cubicBezTo>
                  <a:cubicBezTo>
                    <a:pt x="3992459" y="557592"/>
                    <a:pt x="3979023" y="561086"/>
                    <a:pt x="3969549" y="566312"/>
                  </a:cubicBezTo>
                  <a:cubicBezTo>
                    <a:pt x="3919896" y="593854"/>
                    <a:pt x="3870968" y="621622"/>
                    <a:pt x="3821685" y="649183"/>
                  </a:cubicBezTo>
                  <a:cubicBezTo>
                    <a:pt x="3816761" y="651788"/>
                    <a:pt x="3811445" y="654943"/>
                    <a:pt x="3805138" y="655947"/>
                  </a:cubicBezTo>
                  <a:cubicBezTo>
                    <a:pt x="3739817" y="666451"/>
                    <a:pt x="3673801" y="676154"/>
                    <a:pt x="3609177" y="687459"/>
                  </a:cubicBezTo>
                  <a:cubicBezTo>
                    <a:pt x="3584288" y="691878"/>
                    <a:pt x="3558597" y="697589"/>
                    <a:pt x="3539727" y="706521"/>
                  </a:cubicBezTo>
                  <a:cubicBezTo>
                    <a:pt x="3496714" y="726780"/>
                    <a:pt x="3457268" y="749132"/>
                    <a:pt x="3396572" y="755681"/>
                  </a:cubicBezTo>
                  <a:cubicBezTo>
                    <a:pt x="3378807" y="757611"/>
                    <a:pt x="3357809" y="758036"/>
                    <a:pt x="3341054" y="754679"/>
                  </a:cubicBezTo>
                  <a:cubicBezTo>
                    <a:pt x="3272962" y="740809"/>
                    <a:pt x="3206471" y="724541"/>
                    <a:pt x="3138775" y="710120"/>
                  </a:cubicBezTo>
                  <a:cubicBezTo>
                    <a:pt x="3095820" y="701191"/>
                    <a:pt x="3056969" y="691141"/>
                    <a:pt x="3037283" y="666453"/>
                  </a:cubicBezTo>
                  <a:cubicBezTo>
                    <a:pt x="3031764" y="659487"/>
                    <a:pt x="3015626" y="651391"/>
                    <a:pt x="3002117" y="649347"/>
                  </a:cubicBezTo>
                  <a:cubicBezTo>
                    <a:pt x="2915220" y="636209"/>
                    <a:pt x="2829194" y="627503"/>
                    <a:pt x="2747294" y="652400"/>
                  </a:cubicBezTo>
                  <a:cubicBezTo>
                    <a:pt x="2730084" y="657794"/>
                    <a:pt x="2698519" y="656140"/>
                    <a:pt x="2676273" y="652304"/>
                  </a:cubicBezTo>
                  <a:cubicBezTo>
                    <a:pt x="2590546" y="637890"/>
                    <a:pt x="2508883" y="630176"/>
                    <a:pt x="2432360" y="657836"/>
                  </a:cubicBezTo>
                  <a:cubicBezTo>
                    <a:pt x="2423352" y="661179"/>
                    <a:pt x="2395274" y="656272"/>
                    <a:pt x="2382311" y="650824"/>
                  </a:cubicBezTo>
                  <a:cubicBezTo>
                    <a:pt x="2257393" y="597728"/>
                    <a:pt x="2187724" y="592930"/>
                    <a:pt x="2055134" y="630053"/>
                  </a:cubicBezTo>
                  <a:cubicBezTo>
                    <a:pt x="2046542" y="632464"/>
                    <a:pt x="2035364" y="635121"/>
                    <a:pt x="2031829" y="639324"/>
                  </a:cubicBezTo>
                  <a:cubicBezTo>
                    <a:pt x="2007977" y="666120"/>
                    <a:pt x="1960229" y="664380"/>
                    <a:pt x="1912764" y="664183"/>
                  </a:cubicBezTo>
                  <a:cubicBezTo>
                    <a:pt x="1860521" y="663924"/>
                    <a:pt x="1808236" y="664426"/>
                    <a:pt x="1755637" y="663960"/>
                  </a:cubicBezTo>
                  <a:cubicBezTo>
                    <a:pt x="1746439" y="663859"/>
                    <a:pt x="1736243" y="661799"/>
                    <a:pt x="1727159" y="659605"/>
                  </a:cubicBezTo>
                  <a:cubicBezTo>
                    <a:pt x="1692256" y="651480"/>
                    <a:pt x="1658604" y="640559"/>
                    <a:pt x="1622470" y="634850"/>
                  </a:cubicBezTo>
                  <a:cubicBezTo>
                    <a:pt x="1544362" y="622552"/>
                    <a:pt x="1469248" y="602210"/>
                    <a:pt x="1385955" y="604522"/>
                  </a:cubicBezTo>
                  <a:cubicBezTo>
                    <a:pt x="1371585" y="604913"/>
                    <a:pt x="1355357" y="598530"/>
                    <a:pt x="1340055" y="595629"/>
                  </a:cubicBezTo>
                  <a:cubicBezTo>
                    <a:pt x="1312351" y="590552"/>
                    <a:pt x="1285460" y="583993"/>
                    <a:pt x="1257271" y="581180"/>
                  </a:cubicBezTo>
                  <a:cubicBezTo>
                    <a:pt x="1182583" y="573830"/>
                    <a:pt x="1107142" y="566824"/>
                    <a:pt x="1031914" y="562692"/>
                  </a:cubicBezTo>
                  <a:cubicBezTo>
                    <a:pt x="995593" y="560597"/>
                    <a:pt x="958880" y="565923"/>
                    <a:pt x="922031" y="566853"/>
                  </a:cubicBezTo>
                  <a:cubicBezTo>
                    <a:pt x="905446" y="567320"/>
                    <a:pt x="878533" y="568199"/>
                    <a:pt x="873250" y="563724"/>
                  </a:cubicBezTo>
                  <a:cubicBezTo>
                    <a:pt x="832343" y="529722"/>
                    <a:pt x="772202" y="532674"/>
                    <a:pt x="711627" y="529880"/>
                  </a:cubicBezTo>
                  <a:cubicBezTo>
                    <a:pt x="577999" y="523641"/>
                    <a:pt x="447408" y="543696"/>
                    <a:pt x="311112" y="525106"/>
                  </a:cubicBezTo>
                  <a:cubicBezTo>
                    <a:pt x="271645" y="519795"/>
                    <a:pt x="226936" y="530235"/>
                    <a:pt x="184145" y="532188"/>
                  </a:cubicBezTo>
                  <a:cubicBezTo>
                    <a:pt x="162015" y="533128"/>
                    <a:pt x="137665" y="534333"/>
                    <a:pt x="116886" y="530572"/>
                  </a:cubicBezTo>
                  <a:cubicBezTo>
                    <a:pt x="84810" y="524693"/>
                    <a:pt x="54011" y="515448"/>
                    <a:pt x="23941" y="506433"/>
                  </a:cubicBezTo>
                  <a:lnTo>
                    <a:pt x="0" y="502149"/>
                  </a:lnTo>
                  <a:close/>
                </a:path>
              </a:pathLst>
            </a:cu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>
              <a:outerShdw blurRad="381000" dist="152400" dir="5400000" algn="t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8" name="Freeform: Shape 12">
              <a:extLst>
                <a:ext uri="{FF2B5EF4-FFF2-40B4-BE49-F238E27FC236}">
                  <a16:creationId xmlns:a16="http://schemas.microsoft.com/office/drawing/2014/main" id="{4EBC51E4-7477-4290-BBD0-18AD942C364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2959818"/>
              <a:ext cx="12192000" cy="757168"/>
            </a:xfrm>
            <a:custGeom>
              <a:avLst/>
              <a:gdLst>
                <a:gd name="connsiteX0" fmla="*/ 0 w 12192000"/>
                <a:gd name="connsiteY0" fmla="*/ 0 h 757168"/>
                <a:gd name="connsiteX1" fmla="*/ 41653 w 12192000"/>
                <a:gd name="connsiteY1" fmla="*/ 6945 h 757168"/>
                <a:gd name="connsiteX2" fmla="*/ 81317 w 12192000"/>
                <a:gd name="connsiteY2" fmla="*/ 15509 h 757168"/>
                <a:gd name="connsiteX3" fmla="*/ 114150 w 12192000"/>
                <a:gd name="connsiteY3" fmla="*/ 28105 h 757168"/>
                <a:gd name="connsiteX4" fmla="*/ 214865 w 12192000"/>
                <a:gd name="connsiteY4" fmla="*/ 58374 h 757168"/>
                <a:gd name="connsiteX5" fmla="*/ 299237 w 12192000"/>
                <a:gd name="connsiteY5" fmla="*/ 63560 h 757168"/>
                <a:gd name="connsiteX6" fmla="*/ 415570 w 12192000"/>
                <a:gd name="connsiteY6" fmla="*/ 83774 h 757168"/>
                <a:gd name="connsiteX7" fmla="*/ 633210 w 12192000"/>
                <a:gd name="connsiteY7" fmla="*/ 109108 h 757168"/>
                <a:gd name="connsiteX8" fmla="*/ 677567 w 12192000"/>
                <a:gd name="connsiteY8" fmla="*/ 119446 h 757168"/>
                <a:gd name="connsiteX9" fmla="*/ 946429 w 12192000"/>
                <a:gd name="connsiteY9" fmla="*/ 171502 h 757168"/>
                <a:gd name="connsiteX10" fmla="*/ 1163367 w 12192000"/>
                <a:gd name="connsiteY10" fmla="*/ 182106 h 757168"/>
                <a:gd name="connsiteX11" fmla="*/ 1180337 w 12192000"/>
                <a:gd name="connsiteY11" fmla="*/ 181279 h 757168"/>
                <a:gd name="connsiteX12" fmla="*/ 1263939 w 12192000"/>
                <a:gd name="connsiteY12" fmla="*/ 173070 h 757168"/>
                <a:gd name="connsiteX13" fmla="*/ 1392213 w 12192000"/>
                <a:gd name="connsiteY13" fmla="*/ 183225 h 757168"/>
                <a:gd name="connsiteX14" fmla="*/ 1479752 w 12192000"/>
                <a:gd name="connsiteY14" fmla="*/ 205174 h 757168"/>
                <a:gd name="connsiteX15" fmla="*/ 1589813 w 12192000"/>
                <a:gd name="connsiteY15" fmla="*/ 211706 h 757168"/>
                <a:gd name="connsiteX16" fmla="*/ 1716264 w 12192000"/>
                <a:gd name="connsiteY16" fmla="*/ 207459 h 757168"/>
                <a:gd name="connsiteX17" fmla="*/ 1772900 w 12192000"/>
                <a:gd name="connsiteY17" fmla="*/ 208137 h 757168"/>
                <a:gd name="connsiteX18" fmla="*/ 1929319 w 12192000"/>
                <a:gd name="connsiteY18" fmla="*/ 193822 h 757168"/>
                <a:gd name="connsiteX19" fmla="*/ 2021514 w 12192000"/>
                <a:gd name="connsiteY19" fmla="*/ 204186 h 757168"/>
                <a:gd name="connsiteX20" fmla="*/ 2111753 w 12192000"/>
                <a:gd name="connsiteY20" fmla="*/ 223797 h 757168"/>
                <a:gd name="connsiteX21" fmla="*/ 2169356 w 12192000"/>
                <a:gd name="connsiteY21" fmla="*/ 241125 h 757168"/>
                <a:gd name="connsiteX22" fmla="*/ 2286638 w 12192000"/>
                <a:gd name="connsiteY22" fmla="*/ 257382 h 757168"/>
                <a:gd name="connsiteX23" fmla="*/ 2308368 w 12192000"/>
                <a:gd name="connsiteY23" fmla="*/ 256995 h 757168"/>
                <a:gd name="connsiteX24" fmla="*/ 2660621 w 12192000"/>
                <a:gd name="connsiteY24" fmla="*/ 262863 h 757168"/>
                <a:gd name="connsiteX25" fmla="*/ 2801134 w 12192000"/>
                <a:gd name="connsiteY25" fmla="*/ 250006 h 757168"/>
                <a:gd name="connsiteX26" fmla="*/ 2830994 w 12192000"/>
                <a:gd name="connsiteY26" fmla="*/ 249091 h 757168"/>
                <a:gd name="connsiteX27" fmla="*/ 3129084 w 12192000"/>
                <a:gd name="connsiteY27" fmla="*/ 242009 h 757168"/>
                <a:gd name="connsiteX28" fmla="*/ 3162162 w 12192000"/>
                <a:gd name="connsiteY28" fmla="*/ 242789 h 757168"/>
                <a:gd name="connsiteX29" fmla="*/ 3254072 w 12192000"/>
                <a:gd name="connsiteY29" fmla="*/ 251612 h 757168"/>
                <a:gd name="connsiteX30" fmla="*/ 3473491 w 12192000"/>
                <a:gd name="connsiteY30" fmla="*/ 221903 h 757168"/>
                <a:gd name="connsiteX31" fmla="*/ 3691860 w 12192000"/>
                <a:gd name="connsiteY31" fmla="*/ 219228 h 757168"/>
                <a:gd name="connsiteX32" fmla="*/ 3811494 w 12192000"/>
                <a:gd name="connsiteY32" fmla="*/ 225691 h 757168"/>
                <a:gd name="connsiteX33" fmla="*/ 3897533 w 12192000"/>
                <a:gd name="connsiteY33" fmla="*/ 220087 h 757168"/>
                <a:gd name="connsiteX34" fmla="*/ 4109430 w 12192000"/>
                <a:gd name="connsiteY34" fmla="*/ 200477 h 757168"/>
                <a:gd name="connsiteX35" fmla="*/ 4208772 w 12192000"/>
                <a:gd name="connsiteY35" fmla="*/ 200914 h 757168"/>
                <a:gd name="connsiteX36" fmla="*/ 4314641 w 12192000"/>
                <a:gd name="connsiteY36" fmla="*/ 196159 h 757168"/>
                <a:gd name="connsiteX37" fmla="*/ 4577622 w 12192000"/>
                <a:gd name="connsiteY37" fmla="*/ 163774 h 757168"/>
                <a:gd name="connsiteX38" fmla="*/ 4790345 w 12192000"/>
                <a:gd name="connsiteY38" fmla="*/ 177592 h 757168"/>
                <a:gd name="connsiteX39" fmla="*/ 4926164 w 12192000"/>
                <a:gd name="connsiteY39" fmla="*/ 184139 h 757168"/>
                <a:gd name="connsiteX40" fmla="*/ 5088812 w 12192000"/>
                <a:gd name="connsiteY40" fmla="*/ 177401 h 757168"/>
                <a:gd name="connsiteX41" fmla="*/ 5222466 w 12192000"/>
                <a:gd name="connsiteY41" fmla="*/ 162082 h 757168"/>
                <a:gd name="connsiteX42" fmla="*/ 5406528 w 12192000"/>
                <a:gd name="connsiteY42" fmla="*/ 153987 h 757168"/>
                <a:gd name="connsiteX43" fmla="*/ 5590716 w 12192000"/>
                <a:gd name="connsiteY43" fmla="*/ 129490 h 757168"/>
                <a:gd name="connsiteX44" fmla="*/ 5719429 w 12192000"/>
                <a:gd name="connsiteY44" fmla="*/ 110099 h 757168"/>
                <a:gd name="connsiteX45" fmla="*/ 5897895 w 12192000"/>
                <a:gd name="connsiteY45" fmla="*/ 96368 h 757168"/>
                <a:gd name="connsiteX46" fmla="*/ 6169957 w 12192000"/>
                <a:gd name="connsiteY46" fmla="*/ 94411 h 757168"/>
                <a:gd name="connsiteX47" fmla="*/ 6294827 w 12192000"/>
                <a:gd name="connsiteY47" fmla="*/ 99236 h 757168"/>
                <a:gd name="connsiteX48" fmla="*/ 6494261 w 12192000"/>
                <a:gd name="connsiteY48" fmla="*/ 71724 h 757168"/>
                <a:gd name="connsiteX49" fmla="*/ 6579627 w 12192000"/>
                <a:gd name="connsiteY49" fmla="*/ 57883 h 757168"/>
                <a:gd name="connsiteX50" fmla="*/ 6654800 w 12192000"/>
                <a:gd name="connsiteY50" fmla="*/ 77086 h 757168"/>
                <a:gd name="connsiteX51" fmla="*/ 6703059 w 12192000"/>
                <a:gd name="connsiteY51" fmla="*/ 97166 h 757168"/>
                <a:gd name="connsiteX52" fmla="*/ 6859445 w 12192000"/>
                <a:gd name="connsiteY52" fmla="*/ 90481 h 757168"/>
                <a:gd name="connsiteX53" fmla="*/ 7025414 w 12192000"/>
                <a:gd name="connsiteY53" fmla="*/ 83536 h 757168"/>
                <a:gd name="connsiteX54" fmla="*/ 7144137 w 12192000"/>
                <a:gd name="connsiteY54" fmla="*/ 79264 h 757168"/>
                <a:gd name="connsiteX55" fmla="*/ 7291235 w 12192000"/>
                <a:gd name="connsiteY55" fmla="*/ 95367 h 757168"/>
                <a:gd name="connsiteX56" fmla="*/ 7407395 w 12192000"/>
                <a:gd name="connsiteY56" fmla="*/ 104888 h 757168"/>
                <a:gd name="connsiteX57" fmla="*/ 7500837 w 12192000"/>
                <a:gd name="connsiteY57" fmla="*/ 119515 h 757168"/>
                <a:gd name="connsiteX58" fmla="*/ 7533567 w 12192000"/>
                <a:gd name="connsiteY58" fmla="*/ 126955 h 757168"/>
                <a:gd name="connsiteX59" fmla="*/ 7792910 w 12192000"/>
                <a:gd name="connsiteY59" fmla="*/ 185188 h 757168"/>
                <a:gd name="connsiteX60" fmla="*/ 8070699 w 12192000"/>
                <a:gd name="connsiteY60" fmla="*/ 235423 h 757168"/>
                <a:gd name="connsiteX61" fmla="*/ 8253177 w 12192000"/>
                <a:gd name="connsiteY61" fmla="*/ 222473 h 757168"/>
                <a:gd name="connsiteX62" fmla="*/ 8320683 w 12192000"/>
                <a:gd name="connsiteY62" fmla="*/ 226393 h 757168"/>
                <a:gd name="connsiteX63" fmla="*/ 8631438 w 12192000"/>
                <a:gd name="connsiteY63" fmla="*/ 237528 h 757168"/>
                <a:gd name="connsiteX64" fmla="*/ 8686410 w 12192000"/>
                <a:gd name="connsiteY64" fmla="*/ 234877 h 757168"/>
                <a:gd name="connsiteX65" fmla="*/ 8980658 w 12192000"/>
                <a:gd name="connsiteY65" fmla="*/ 273001 h 757168"/>
                <a:gd name="connsiteX66" fmla="*/ 9087625 w 12192000"/>
                <a:gd name="connsiteY66" fmla="*/ 282423 h 757168"/>
                <a:gd name="connsiteX67" fmla="*/ 9186017 w 12192000"/>
                <a:gd name="connsiteY67" fmla="*/ 293875 h 757168"/>
                <a:gd name="connsiteX68" fmla="*/ 9323931 w 12192000"/>
                <a:gd name="connsiteY68" fmla="*/ 302628 h 757168"/>
                <a:gd name="connsiteX69" fmla="*/ 9467213 w 12192000"/>
                <a:gd name="connsiteY69" fmla="*/ 307275 h 757168"/>
                <a:gd name="connsiteX70" fmla="*/ 9626826 w 12192000"/>
                <a:gd name="connsiteY70" fmla="*/ 316213 h 757168"/>
                <a:gd name="connsiteX71" fmla="*/ 9689696 w 12192000"/>
                <a:gd name="connsiteY71" fmla="*/ 324467 h 757168"/>
                <a:gd name="connsiteX72" fmla="*/ 9860526 w 12192000"/>
                <a:gd name="connsiteY72" fmla="*/ 329986 h 757168"/>
                <a:gd name="connsiteX73" fmla="*/ 9949775 w 12192000"/>
                <a:gd name="connsiteY73" fmla="*/ 340386 h 757168"/>
                <a:gd name="connsiteX74" fmla="*/ 10097252 w 12192000"/>
                <a:gd name="connsiteY74" fmla="*/ 349262 h 757168"/>
                <a:gd name="connsiteX75" fmla="*/ 10145261 w 12192000"/>
                <a:gd name="connsiteY75" fmla="*/ 353113 h 757168"/>
                <a:gd name="connsiteX76" fmla="*/ 10188159 w 12192000"/>
                <a:gd name="connsiteY76" fmla="*/ 356124 h 757168"/>
                <a:gd name="connsiteX77" fmla="*/ 10336144 w 12192000"/>
                <a:gd name="connsiteY77" fmla="*/ 348235 h 757168"/>
                <a:gd name="connsiteX78" fmla="*/ 10466847 w 12192000"/>
                <a:gd name="connsiteY78" fmla="*/ 354131 h 757168"/>
                <a:gd name="connsiteX79" fmla="*/ 10696514 w 12192000"/>
                <a:gd name="connsiteY79" fmla="*/ 353575 h 757168"/>
                <a:gd name="connsiteX80" fmla="*/ 10746932 w 12192000"/>
                <a:gd name="connsiteY80" fmla="*/ 360606 h 757168"/>
                <a:gd name="connsiteX81" fmla="*/ 10905388 w 12192000"/>
                <a:gd name="connsiteY81" fmla="*/ 370627 h 757168"/>
                <a:gd name="connsiteX82" fmla="*/ 10995602 w 12192000"/>
                <a:gd name="connsiteY82" fmla="*/ 376691 h 757168"/>
                <a:gd name="connsiteX83" fmla="*/ 11107647 w 12192000"/>
                <a:gd name="connsiteY83" fmla="*/ 373405 h 757168"/>
                <a:gd name="connsiteX84" fmla="*/ 11302440 w 12192000"/>
                <a:gd name="connsiteY84" fmla="*/ 364156 h 757168"/>
                <a:gd name="connsiteX85" fmla="*/ 11353613 w 12192000"/>
                <a:gd name="connsiteY85" fmla="*/ 363785 h 757168"/>
                <a:gd name="connsiteX86" fmla="*/ 11447323 w 12192000"/>
                <a:gd name="connsiteY86" fmla="*/ 359346 h 757168"/>
                <a:gd name="connsiteX87" fmla="*/ 11464292 w 12192000"/>
                <a:gd name="connsiteY87" fmla="*/ 358519 h 757168"/>
                <a:gd name="connsiteX88" fmla="*/ 11607560 w 12192000"/>
                <a:gd name="connsiteY88" fmla="*/ 342370 h 757168"/>
                <a:gd name="connsiteX89" fmla="*/ 11681426 w 12192000"/>
                <a:gd name="connsiteY89" fmla="*/ 344335 h 757168"/>
                <a:gd name="connsiteX90" fmla="*/ 11893565 w 12192000"/>
                <a:gd name="connsiteY90" fmla="*/ 355261 h 757168"/>
                <a:gd name="connsiteX91" fmla="*/ 11983290 w 12192000"/>
                <a:gd name="connsiteY91" fmla="*/ 363588 h 757168"/>
                <a:gd name="connsiteX92" fmla="*/ 12192000 w 12192000"/>
                <a:gd name="connsiteY92" fmla="*/ 388018 h 757168"/>
                <a:gd name="connsiteX93" fmla="*/ 12192000 w 12192000"/>
                <a:gd name="connsiteY93" fmla="*/ 577115 h 757168"/>
                <a:gd name="connsiteX94" fmla="*/ 12157329 w 12192000"/>
                <a:gd name="connsiteY94" fmla="*/ 588862 h 757168"/>
                <a:gd name="connsiteX95" fmla="*/ 12066948 w 12192000"/>
                <a:gd name="connsiteY95" fmla="*/ 586034 h 757168"/>
                <a:gd name="connsiteX96" fmla="*/ 11911344 w 12192000"/>
                <a:gd name="connsiteY96" fmla="*/ 521599 h 757168"/>
                <a:gd name="connsiteX97" fmla="*/ 11847823 w 12192000"/>
                <a:gd name="connsiteY97" fmla="*/ 511785 h 757168"/>
                <a:gd name="connsiteX98" fmla="*/ 11737547 w 12192000"/>
                <a:gd name="connsiteY98" fmla="*/ 502380 h 757168"/>
                <a:gd name="connsiteX99" fmla="*/ 11636052 w 12192000"/>
                <a:gd name="connsiteY99" fmla="*/ 514993 h 757168"/>
                <a:gd name="connsiteX100" fmla="*/ 11394706 w 12192000"/>
                <a:gd name="connsiteY100" fmla="*/ 590867 h 757168"/>
                <a:gd name="connsiteX101" fmla="*/ 11354978 w 12192000"/>
                <a:gd name="connsiteY101" fmla="*/ 597561 h 757168"/>
                <a:gd name="connsiteX102" fmla="*/ 11285306 w 12192000"/>
                <a:gd name="connsiteY102" fmla="*/ 599825 h 757168"/>
                <a:gd name="connsiteX103" fmla="*/ 11008528 w 12192000"/>
                <a:gd name="connsiteY103" fmla="*/ 656670 h 757168"/>
                <a:gd name="connsiteX104" fmla="*/ 10948735 w 12192000"/>
                <a:gd name="connsiteY104" fmla="*/ 652964 h 757168"/>
                <a:gd name="connsiteX105" fmla="*/ 10850698 w 12192000"/>
                <a:gd name="connsiteY105" fmla="*/ 641721 h 757168"/>
                <a:gd name="connsiteX106" fmla="*/ 10744026 w 12192000"/>
                <a:gd name="connsiteY106" fmla="*/ 647769 h 757168"/>
                <a:gd name="connsiteX107" fmla="*/ 10666160 w 12192000"/>
                <a:gd name="connsiteY107" fmla="*/ 651891 h 757168"/>
                <a:gd name="connsiteX108" fmla="*/ 10450521 w 12192000"/>
                <a:gd name="connsiteY108" fmla="*/ 616552 h 757168"/>
                <a:gd name="connsiteX109" fmla="*/ 10271192 w 12192000"/>
                <a:gd name="connsiteY109" fmla="*/ 583498 h 757168"/>
                <a:gd name="connsiteX110" fmla="*/ 10246067 w 12192000"/>
                <a:gd name="connsiteY110" fmla="*/ 585423 h 757168"/>
                <a:gd name="connsiteX111" fmla="*/ 10005027 w 12192000"/>
                <a:gd name="connsiteY111" fmla="*/ 592252 h 757168"/>
                <a:gd name="connsiteX112" fmla="*/ 9898681 w 12192000"/>
                <a:gd name="connsiteY112" fmla="*/ 613195 h 757168"/>
                <a:gd name="connsiteX113" fmla="*/ 9753225 w 12192000"/>
                <a:gd name="connsiteY113" fmla="*/ 629038 h 757168"/>
                <a:gd name="connsiteX114" fmla="*/ 9591376 w 12192000"/>
                <a:gd name="connsiteY114" fmla="*/ 648601 h 757168"/>
                <a:gd name="connsiteX115" fmla="*/ 9472860 w 12192000"/>
                <a:gd name="connsiteY115" fmla="*/ 655936 h 757168"/>
                <a:gd name="connsiteX116" fmla="*/ 9299788 w 12192000"/>
                <a:gd name="connsiteY116" fmla="*/ 636945 h 757168"/>
                <a:gd name="connsiteX117" fmla="*/ 9264605 w 12192000"/>
                <a:gd name="connsiteY117" fmla="*/ 627087 h 757168"/>
                <a:gd name="connsiteX118" fmla="*/ 8926435 w 12192000"/>
                <a:gd name="connsiteY118" fmla="*/ 549269 h 757168"/>
                <a:gd name="connsiteX119" fmla="*/ 8698934 w 12192000"/>
                <a:gd name="connsiteY119" fmla="*/ 536583 h 757168"/>
                <a:gd name="connsiteX120" fmla="*/ 8622862 w 12192000"/>
                <a:gd name="connsiteY120" fmla="*/ 541563 h 757168"/>
                <a:gd name="connsiteX121" fmla="*/ 8482784 w 12192000"/>
                <a:gd name="connsiteY121" fmla="*/ 574094 h 757168"/>
                <a:gd name="connsiteX122" fmla="*/ 8421565 w 12192000"/>
                <a:gd name="connsiteY122" fmla="*/ 576610 h 757168"/>
                <a:gd name="connsiteX123" fmla="*/ 8313469 w 12192000"/>
                <a:gd name="connsiteY123" fmla="*/ 574762 h 757168"/>
                <a:gd name="connsiteX124" fmla="*/ 8079520 w 12192000"/>
                <a:gd name="connsiteY124" fmla="*/ 558685 h 757168"/>
                <a:gd name="connsiteX125" fmla="*/ 7773327 w 12192000"/>
                <a:gd name="connsiteY125" fmla="*/ 558854 h 757168"/>
                <a:gd name="connsiteX126" fmla="*/ 7652477 w 12192000"/>
                <a:gd name="connsiteY126" fmla="*/ 547561 h 757168"/>
                <a:gd name="connsiteX127" fmla="*/ 7522274 w 12192000"/>
                <a:gd name="connsiteY127" fmla="*/ 532150 h 757168"/>
                <a:gd name="connsiteX128" fmla="*/ 7484080 w 12192000"/>
                <a:gd name="connsiteY128" fmla="*/ 530532 h 757168"/>
                <a:gd name="connsiteX129" fmla="*/ 7282277 w 12192000"/>
                <a:gd name="connsiteY129" fmla="*/ 540177 h 757168"/>
                <a:gd name="connsiteX130" fmla="*/ 7235690 w 12192000"/>
                <a:gd name="connsiteY130" fmla="*/ 551282 h 757168"/>
                <a:gd name="connsiteX131" fmla="*/ 7116339 w 12192000"/>
                <a:gd name="connsiteY131" fmla="*/ 539494 h 757168"/>
                <a:gd name="connsiteX132" fmla="*/ 7011067 w 12192000"/>
                <a:gd name="connsiteY132" fmla="*/ 511848 h 757168"/>
                <a:gd name="connsiteX133" fmla="*/ 6403234 w 12192000"/>
                <a:gd name="connsiteY133" fmla="*/ 432296 h 757168"/>
                <a:gd name="connsiteX134" fmla="*/ 6036273 w 12192000"/>
                <a:gd name="connsiteY134" fmla="*/ 412301 h 757168"/>
                <a:gd name="connsiteX135" fmla="*/ 5780467 w 12192000"/>
                <a:gd name="connsiteY135" fmla="*/ 377910 h 757168"/>
                <a:gd name="connsiteX136" fmla="*/ 5739051 w 12192000"/>
                <a:gd name="connsiteY136" fmla="*/ 353609 h 757168"/>
                <a:gd name="connsiteX137" fmla="*/ 5583566 w 12192000"/>
                <a:gd name="connsiteY137" fmla="*/ 321995 h 757168"/>
                <a:gd name="connsiteX138" fmla="*/ 5432030 w 12192000"/>
                <a:gd name="connsiteY138" fmla="*/ 362512 h 757168"/>
                <a:gd name="connsiteX139" fmla="*/ 5241398 w 12192000"/>
                <a:gd name="connsiteY139" fmla="*/ 425781 h 757168"/>
                <a:gd name="connsiteX140" fmla="*/ 5139710 w 12192000"/>
                <a:gd name="connsiteY140" fmla="*/ 421022 h 757168"/>
                <a:gd name="connsiteX141" fmla="*/ 4929402 w 12192000"/>
                <a:gd name="connsiteY141" fmla="*/ 424310 h 757168"/>
                <a:gd name="connsiteX142" fmla="*/ 4782793 w 12192000"/>
                <a:gd name="connsiteY142" fmla="*/ 441046 h 757168"/>
                <a:gd name="connsiteX143" fmla="*/ 4577594 w 12192000"/>
                <a:gd name="connsiteY143" fmla="*/ 459290 h 757168"/>
                <a:gd name="connsiteX144" fmla="*/ 4500826 w 12192000"/>
                <a:gd name="connsiteY144" fmla="*/ 470529 h 757168"/>
                <a:gd name="connsiteX145" fmla="*/ 4317973 w 12192000"/>
                <a:gd name="connsiteY145" fmla="*/ 483649 h 757168"/>
                <a:gd name="connsiteX146" fmla="*/ 4166722 w 12192000"/>
                <a:gd name="connsiteY146" fmla="*/ 490602 h 757168"/>
                <a:gd name="connsiteX147" fmla="*/ 4042814 w 12192000"/>
                <a:gd name="connsiteY147" fmla="*/ 530660 h 757168"/>
                <a:gd name="connsiteX148" fmla="*/ 4002653 w 12192000"/>
                <a:gd name="connsiteY148" fmla="*/ 552594 h 757168"/>
                <a:gd name="connsiteX149" fmla="*/ 3969549 w 12192000"/>
                <a:gd name="connsiteY149" fmla="*/ 566312 h 757168"/>
                <a:gd name="connsiteX150" fmla="*/ 3821685 w 12192000"/>
                <a:gd name="connsiteY150" fmla="*/ 649183 h 757168"/>
                <a:gd name="connsiteX151" fmla="*/ 3805138 w 12192000"/>
                <a:gd name="connsiteY151" fmla="*/ 655947 h 757168"/>
                <a:gd name="connsiteX152" fmla="*/ 3609177 w 12192000"/>
                <a:gd name="connsiteY152" fmla="*/ 687459 h 757168"/>
                <a:gd name="connsiteX153" fmla="*/ 3539727 w 12192000"/>
                <a:gd name="connsiteY153" fmla="*/ 706521 h 757168"/>
                <a:gd name="connsiteX154" fmla="*/ 3396572 w 12192000"/>
                <a:gd name="connsiteY154" fmla="*/ 755681 h 757168"/>
                <a:gd name="connsiteX155" fmla="*/ 3341054 w 12192000"/>
                <a:gd name="connsiteY155" fmla="*/ 754679 h 757168"/>
                <a:gd name="connsiteX156" fmla="*/ 3138775 w 12192000"/>
                <a:gd name="connsiteY156" fmla="*/ 710120 h 757168"/>
                <a:gd name="connsiteX157" fmla="*/ 3037283 w 12192000"/>
                <a:gd name="connsiteY157" fmla="*/ 666453 h 757168"/>
                <a:gd name="connsiteX158" fmla="*/ 3002117 w 12192000"/>
                <a:gd name="connsiteY158" fmla="*/ 649347 h 757168"/>
                <a:gd name="connsiteX159" fmla="*/ 2747294 w 12192000"/>
                <a:gd name="connsiteY159" fmla="*/ 652400 h 757168"/>
                <a:gd name="connsiteX160" fmla="*/ 2676273 w 12192000"/>
                <a:gd name="connsiteY160" fmla="*/ 652304 h 757168"/>
                <a:gd name="connsiteX161" fmla="*/ 2432360 w 12192000"/>
                <a:gd name="connsiteY161" fmla="*/ 657836 h 757168"/>
                <a:gd name="connsiteX162" fmla="*/ 2382311 w 12192000"/>
                <a:gd name="connsiteY162" fmla="*/ 650824 h 757168"/>
                <a:gd name="connsiteX163" fmla="*/ 2055134 w 12192000"/>
                <a:gd name="connsiteY163" fmla="*/ 630053 h 757168"/>
                <a:gd name="connsiteX164" fmla="*/ 2031829 w 12192000"/>
                <a:gd name="connsiteY164" fmla="*/ 639324 h 757168"/>
                <a:gd name="connsiteX165" fmla="*/ 1912764 w 12192000"/>
                <a:gd name="connsiteY165" fmla="*/ 664183 h 757168"/>
                <a:gd name="connsiteX166" fmla="*/ 1755637 w 12192000"/>
                <a:gd name="connsiteY166" fmla="*/ 663960 h 757168"/>
                <a:gd name="connsiteX167" fmla="*/ 1727159 w 12192000"/>
                <a:gd name="connsiteY167" fmla="*/ 659605 h 757168"/>
                <a:gd name="connsiteX168" fmla="*/ 1622470 w 12192000"/>
                <a:gd name="connsiteY168" fmla="*/ 634850 h 757168"/>
                <a:gd name="connsiteX169" fmla="*/ 1385955 w 12192000"/>
                <a:gd name="connsiteY169" fmla="*/ 604522 h 757168"/>
                <a:gd name="connsiteX170" fmla="*/ 1340055 w 12192000"/>
                <a:gd name="connsiteY170" fmla="*/ 595629 h 757168"/>
                <a:gd name="connsiteX171" fmla="*/ 1257271 w 12192000"/>
                <a:gd name="connsiteY171" fmla="*/ 581180 h 757168"/>
                <a:gd name="connsiteX172" fmla="*/ 1031914 w 12192000"/>
                <a:gd name="connsiteY172" fmla="*/ 562692 h 757168"/>
                <a:gd name="connsiteX173" fmla="*/ 922031 w 12192000"/>
                <a:gd name="connsiteY173" fmla="*/ 566853 h 757168"/>
                <a:gd name="connsiteX174" fmla="*/ 873250 w 12192000"/>
                <a:gd name="connsiteY174" fmla="*/ 563724 h 757168"/>
                <a:gd name="connsiteX175" fmla="*/ 711627 w 12192000"/>
                <a:gd name="connsiteY175" fmla="*/ 529880 h 757168"/>
                <a:gd name="connsiteX176" fmla="*/ 311112 w 12192000"/>
                <a:gd name="connsiteY176" fmla="*/ 525106 h 757168"/>
                <a:gd name="connsiteX177" fmla="*/ 184145 w 12192000"/>
                <a:gd name="connsiteY177" fmla="*/ 532188 h 757168"/>
                <a:gd name="connsiteX178" fmla="*/ 116886 w 12192000"/>
                <a:gd name="connsiteY178" fmla="*/ 530572 h 757168"/>
                <a:gd name="connsiteX179" fmla="*/ 23941 w 12192000"/>
                <a:gd name="connsiteY179" fmla="*/ 506433 h 757168"/>
                <a:gd name="connsiteX180" fmla="*/ 0 w 12192000"/>
                <a:gd name="connsiteY180" fmla="*/ 502149 h 757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</a:cxnLst>
              <a:rect l="l" t="t" r="r" b="b"/>
              <a:pathLst>
                <a:path w="12192000" h="757168">
                  <a:moveTo>
                    <a:pt x="0" y="0"/>
                  </a:moveTo>
                  <a:lnTo>
                    <a:pt x="41653" y="6945"/>
                  </a:lnTo>
                  <a:cubicBezTo>
                    <a:pt x="55151" y="9178"/>
                    <a:pt x="68996" y="11810"/>
                    <a:pt x="81317" y="15509"/>
                  </a:cubicBezTo>
                  <a:cubicBezTo>
                    <a:pt x="92911" y="18978"/>
                    <a:pt x="102562" y="24446"/>
                    <a:pt x="114150" y="28105"/>
                  </a:cubicBezTo>
                  <a:cubicBezTo>
                    <a:pt x="145644" y="37958"/>
                    <a:pt x="177914" y="47281"/>
                    <a:pt x="214865" y="58374"/>
                  </a:cubicBezTo>
                  <a:cubicBezTo>
                    <a:pt x="236680" y="42349"/>
                    <a:pt x="264438" y="53534"/>
                    <a:pt x="299237" y="63560"/>
                  </a:cubicBezTo>
                  <a:cubicBezTo>
                    <a:pt x="334763" y="73816"/>
                    <a:pt x="376093" y="78654"/>
                    <a:pt x="415570" y="83774"/>
                  </a:cubicBezTo>
                  <a:cubicBezTo>
                    <a:pt x="487949" y="93100"/>
                    <a:pt x="560804" y="100354"/>
                    <a:pt x="633210" y="109108"/>
                  </a:cubicBezTo>
                  <a:cubicBezTo>
                    <a:pt x="648566" y="111058"/>
                    <a:pt x="666073" y="114072"/>
                    <a:pt x="677567" y="119446"/>
                  </a:cubicBezTo>
                  <a:cubicBezTo>
                    <a:pt x="756262" y="155621"/>
                    <a:pt x="853422" y="169678"/>
                    <a:pt x="946429" y="171502"/>
                  </a:cubicBezTo>
                  <a:cubicBezTo>
                    <a:pt x="1019582" y="173044"/>
                    <a:pt x="1091239" y="175083"/>
                    <a:pt x="1163367" y="182106"/>
                  </a:cubicBezTo>
                  <a:cubicBezTo>
                    <a:pt x="1168863" y="182586"/>
                    <a:pt x="1176224" y="182589"/>
                    <a:pt x="1180337" y="181279"/>
                  </a:cubicBezTo>
                  <a:cubicBezTo>
                    <a:pt x="1205822" y="172503"/>
                    <a:pt x="1231920" y="173109"/>
                    <a:pt x="1263939" y="173070"/>
                  </a:cubicBezTo>
                  <a:cubicBezTo>
                    <a:pt x="1309211" y="172961"/>
                    <a:pt x="1350592" y="176848"/>
                    <a:pt x="1392213" y="183225"/>
                  </a:cubicBezTo>
                  <a:cubicBezTo>
                    <a:pt x="1422516" y="187866"/>
                    <a:pt x="1453010" y="195759"/>
                    <a:pt x="1479752" y="205174"/>
                  </a:cubicBezTo>
                  <a:cubicBezTo>
                    <a:pt x="1516962" y="218381"/>
                    <a:pt x="1553071" y="224660"/>
                    <a:pt x="1589813" y="211706"/>
                  </a:cubicBezTo>
                  <a:cubicBezTo>
                    <a:pt x="1629541" y="197953"/>
                    <a:pt x="1673292" y="205778"/>
                    <a:pt x="1716264" y="207459"/>
                  </a:cubicBezTo>
                  <a:cubicBezTo>
                    <a:pt x="1734988" y="208248"/>
                    <a:pt x="1754789" y="209668"/>
                    <a:pt x="1772900" y="208137"/>
                  </a:cubicBezTo>
                  <a:cubicBezTo>
                    <a:pt x="1825381" y="203828"/>
                    <a:pt x="1876222" y="195808"/>
                    <a:pt x="1929319" y="193822"/>
                  </a:cubicBezTo>
                  <a:cubicBezTo>
                    <a:pt x="1958819" y="192698"/>
                    <a:pt x="1991232" y="199166"/>
                    <a:pt x="2021514" y="204186"/>
                  </a:cubicBezTo>
                  <a:cubicBezTo>
                    <a:pt x="2052154" y="209417"/>
                    <a:pt x="2082323" y="216530"/>
                    <a:pt x="2111753" y="223797"/>
                  </a:cubicBezTo>
                  <a:cubicBezTo>
                    <a:pt x="2131736" y="228659"/>
                    <a:pt x="2153567" y="233429"/>
                    <a:pt x="2169356" y="241125"/>
                  </a:cubicBezTo>
                  <a:cubicBezTo>
                    <a:pt x="2205243" y="258649"/>
                    <a:pt x="2242901" y="263295"/>
                    <a:pt x="2286638" y="257382"/>
                  </a:cubicBezTo>
                  <a:cubicBezTo>
                    <a:pt x="2293313" y="256396"/>
                    <a:pt x="2301018" y="256799"/>
                    <a:pt x="2308368" y="256995"/>
                  </a:cubicBezTo>
                  <a:cubicBezTo>
                    <a:pt x="2426026" y="259155"/>
                    <a:pt x="2543593" y="262834"/>
                    <a:pt x="2660621" y="262863"/>
                  </a:cubicBezTo>
                  <a:cubicBezTo>
                    <a:pt x="2708088" y="262871"/>
                    <a:pt x="2754165" y="254412"/>
                    <a:pt x="2801134" y="250006"/>
                  </a:cubicBezTo>
                  <a:cubicBezTo>
                    <a:pt x="2810748" y="249174"/>
                    <a:pt x="2821504" y="247638"/>
                    <a:pt x="2830994" y="249091"/>
                  </a:cubicBezTo>
                  <a:cubicBezTo>
                    <a:pt x="2934354" y="264045"/>
                    <a:pt x="3032340" y="255254"/>
                    <a:pt x="3129084" y="242009"/>
                  </a:cubicBezTo>
                  <a:cubicBezTo>
                    <a:pt x="3139090" y="240625"/>
                    <a:pt x="3151170" y="241831"/>
                    <a:pt x="3162162" y="242789"/>
                  </a:cubicBezTo>
                  <a:cubicBezTo>
                    <a:pt x="3192925" y="245736"/>
                    <a:pt x="3225969" y="254145"/>
                    <a:pt x="3254072" y="251612"/>
                  </a:cubicBezTo>
                  <a:cubicBezTo>
                    <a:pt x="3328782" y="244461"/>
                    <a:pt x="3402881" y="234992"/>
                    <a:pt x="3473491" y="221903"/>
                  </a:cubicBezTo>
                  <a:cubicBezTo>
                    <a:pt x="3545212" y="208683"/>
                    <a:pt x="3611651" y="197856"/>
                    <a:pt x="3691860" y="219228"/>
                  </a:cubicBezTo>
                  <a:cubicBezTo>
                    <a:pt x="3725977" y="228268"/>
                    <a:pt x="3771754" y="225515"/>
                    <a:pt x="3811494" y="225691"/>
                  </a:cubicBezTo>
                  <a:cubicBezTo>
                    <a:pt x="3840564" y="225687"/>
                    <a:pt x="3868906" y="218586"/>
                    <a:pt x="3897533" y="220087"/>
                  </a:cubicBezTo>
                  <a:cubicBezTo>
                    <a:pt x="3973874" y="224087"/>
                    <a:pt x="4042293" y="217563"/>
                    <a:pt x="4109430" y="200477"/>
                  </a:cubicBezTo>
                  <a:cubicBezTo>
                    <a:pt x="4135544" y="193834"/>
                    <a:pt x="4175268" y="201258"/>
                    <a:pt x="4208772" y="200914"/>
                  </a:cubicBezTo>
                  <a:cubicBezTo>
                    <a:pt x="4244136" y="200288"/>
                    <a:pt x="4280583" y="199908"/>
                    <a:pt x="4314641" y="196159"/>
                  </a:cubicBezTo>
                  <a:cubicBezTo>
                    <a:pt x="4402743" y="186278"/>
                    <a:pt x="4489848" y="174436"/>
                    <a:pt x="4577622" y="163774"/>
                  </a:cubicBezTo>
                  <a:cubicBezTo>
                    <a:pt x="4649843" y="154967"/>
                    <a:pt x="4719794" y="168553"/>
                    <a:pt x="4790345" y="177592"/>
                  </a:cubicBezTo>
                  <a:cubicBezTo>
                    <a:pt x="4834576" y="183345"/>
                    <a:pt x="4875614" y="193701"/>
                    <a:pt x="4926164" y="184139"/>
                  </a:cubicBezTo>
                  <a:cubicBezTo>
                    <a:pt x="4974485" y="175032"/>
                    <a:pt x="5034899" y="180870"/>
                    <a:pt x="5088812" y="177401"/>
                  </a:cubicBezTo>
                  <a:cubicBezTo>
                    <a:pt x="5134238" y="174439"/>
                    <a:pt x="5178353" y="168165"/>
                    <a:pt x="5222466" y="162082"/>
                  </a:cubicBezTo>
                  <a:cubicBezTo>
                    <a:pt x="5282519" y="153783"/>
                    <a:pt x="5341864" y="144876"/>
                    <a:pt x="5406528" y="153987"/>
                  </a:cubicBezTo>
                  <a:cubicBezTo>
                    <a:pt x="5479960" y="164323"/>
                    <a:pt x="5531876" y="142624"/>
                    <a:pt x="5590716" y="129490"/>
                  </a:cubicBezTo>
                  <a:cubicBezTo>
                    <a:pt x="5631296" y="120553"/>
                    <a:pt x="5675395" y="114659"/>
                    <a:pt x="5719429" y="110099"/>
                  </a:cubicBezTo>
                  <a:cubicBezTo>
                    <a:pt x="5778247" y="104215"/>
                    <a:pt x="5838715" y="102042"/>
                    <a:pt x="5897895" y="96368"/>
                  </a:cubicBezTo>
                  <a:cubicBezTo>
                    <a:pt x="5987399" y="87895"/>
                    <a:pt x="6077855" y="82333"/>
                    <a:pt x="6169957" y="94411"/>
                  </a:cubicBezTo>
                  <a:cubicBezTo>
                    <a:pt x="6212360" y="99875"/>
                    <a:pt x="6252010" y="101763"/>
                    <a:pt x="6294827" y="99236"/>
                  </a:cubicBezTo>
                  <a:cubicBezTo>
                    <a:pt x="6364965" y="95091"/>
                    <a:pt x="6436581" y="97891"/>
                    <a:pt x="6494261" y="71724"/>
                  </a:cubicBezTo>
                  <a:cubicBezTo>
                    <a:pt x="6514615" y="62488"/>
                    <a:pt x="6550354" y="61691"/>
                    <a:pt x="6579627" y="57883"/>
                  </a:cubicBezTo>
                  <a:cubicBezTo>
                    <a:pt x="6613354" y="53353"/>
                    <a:pt x="6637770" y="57878"/>
                    <a:pt x="6654800" y="77086"/>
                  </a:cubicBezTo>
                  <a:cubicBezTo>
                    <a:pt x="6662444" y="85688"/>
                    <a:pt x="6685147" y="94892"/>
                    <a:pt x="6703059" y="97166"/>
                  </a:cubicBezTo>
                  <a:cubicBezTo>
                    <a:pt x="6756799" y="103989"/>
                    <a:pt x="6806654" y="100687"/>
                    <a:pt x="6859445" y="90481"/>
                  </a:cubicBezTo>
                  <a:cubicBezTo>
                    <a:pt x="6908894" y="80861"/>
                    <a:pt x="6969747" y="85387"/>
                    <a:pt x="7025414" y="83536"/>
                  </a:cubicBezTo>
                  <a:cubicBezTo>
                    <a:pt x="7064862" y="82168"/>
                    <a:pt x="7104501" y="77186"/>
                    <a:pt x="7144137" y="79264"/>
                  </a:cubicBezTo>
                  <a:cubicBezTo>
                    <a:pt x="7193316" y="81841"/>
                    <a:pt x="7241809" y="90488"/>
                    <a:pt x="7291235" y="95367"/>
                  </a:cubicBezTo>
                  <a:cubicBezTo>
                    <a:pt x="7329668" y="99288"/>
                    <a:pt x="7368978" y="100585"/>
                    <a:pt x="7407395" y="104888"/>
                  </a:cubicBezTo>
                  <a:cubicBezTo>
                    <a:pt x="7438868" y="108256"/>
                    <a:pt x="7469832" y="114265"/>
                    <a:pt x="7500837" y="119515"/>
                  </a:cubicBezTo>
                  <a:cubicBezTo>
                    <a:pt x="7512146" y="121444"/>
                    <a:pt x="7523255" y="127178"/>
                    <a:pt x="7533567" y="126955"/>
                  </a:cubicBezTo>
                  <a:cubicBezTo>
                    <a:pt x="7636025" y="124121"/>
                    <a:pt x="7707510" y="164497"/>
                    <a:pt x="7792910" y="185188"/>
                  </a:cubicBezTo>
                  <a:cubicBezTo>
                    <a:pt x="7882663" y="207063"/>
                    <a:pt x="7969001" y="237914"/>
                    <a:pt x="8070699" y="235423"/>
                  </a:cubicBezTo>
                  <a:cubicBezTo>
                    <a:pt x="8132239" y="233879"/>
                    <a:pt x="8191903" y="225939"/>
                    <a:pt x="8253177" y="222473"/>
                  </a:cubicBezTo>
                  <a:cubicBezTo>
                    <a:pt x="8274949" y="221324"/>
                    <a:pt x="8299150" y="222976"/>
                    <a:pt x="8320683" y="226393"/>
                  </a:cubicBezTo>
                  <a:cubicBezTo>
                    <a:pt x="8424731" y="242340"/>
                    <a:pt x="8527777" y="249266"/>
                    <a:pt x="8631438" y="237528"/>
                  </a:cubicBezTo>
                  <a:cubicBezTo>
                    <a:pt x="8649201" y="235596"/>
                    <a:pt x="8668058" y="233915"/>
                    <a:pt x="8686410" y="234877"/>
                  </a:cubicBezTo>
                  <a:cubicBezTo>
                    <a:pt x="8786966" y="240146"/>
                    <a:pt x="8885480" y="249315"/>
                    <a:pt x="8980658" y="273001"/>
                  </a:cubicBezTo>
                  <a:cubicBezTo>
                    <a:pt x="9012626" y="280972"/>
                    <a:pt x="9052108" y="279035"/>
                    <a:pt x="9087625" y="282423"/>
                  </a:cubicBezTo>
                  <a:cubicBezTo>
                    <a:pt x="9120583" y="285484"/>
                    <a:pt x="9154319" y="287825"/>
                    <a:pt x="9186017" y="293875"/>
                  </a:cubicBezTo>
                  <a:cubicBezTo>
                    <a:pt x="9232288" y="302785"/>
                    <a:pt x="9275554" y="305815"/>
                    <a:pt x="9323931" y="302628"/>
                  </a:cubicBezTo>
                  <a:cubicBezTo>
                    <a:pt x="9370084" y="299705"/>
                    <a:pt x="9419491" y="304964"/>
                    <a:pt x="9467213" y="307275"/>
                  </a:cubicBezTo>
                  <a:cubicBezTo>
                    <a:pt x="9520438" y="309874"/>
                    <a:pt x="9573661" y="312473"/>
                    <a:pt x="9626826" y="316213"/>
                  </a:cubicBezTo>
                  <a:cubicBezTo>
                    <a:pt x="9648094" y="317708"/>
                    <a:pt x="9671915" y="326588"/>
                    <a:pt x="9689696" y="324467"/>
                  </a:cubicBezTo>
                  <a:cubicBezTo>
                    <a:pt x="9747117" y="317175"/>
                    <a:pt x="9803355" y="332523"/>
                    <a:pt x="9860526" y="329986"/>
                  </a:cubicBezTo>
                  <a:cubicBezTo>
                    <a:pt x="9888572" y="328594"/>
                    <a:pt x="9919723" y="338048"/>
                    <a:pt x="9949775" y="340386"/>
                  </a:cubicBezTo>
                  <a:cubicBezTo>
                    <a:pt x="9998886" y="344296"/>
                    <a:pt x="10048092" y="346302"/>
                    <a:pt x="10097252" y="349262"/>
                  </a:cubicBezTo>
                  <a:cubicBezTo>
                    <a:pt x="10113390" y="350297"/>
                    <a:pt x="10129133" y="351886"/>
                    <a:pt x="10145261" y="353113"/>
                  </a:cubicBezTo>
                  <a:cubicBezTo>
                    <a:pt x="10159555" y="354243"/>
                    <a:pt x="10174512" y="356743"/>
                    <a:pt x="10188159" y="356124"/>
                  </a:cubicBezTo>
                  <a:cubicBezTo>
                    <a:pt x="10237589" y="353944"/>
                    <a:pt x="10286441" y="348682"/>
                    <a:pt x="10336144" y="348235"/>
                  </a:cubicBezTo>
                  <a:cubicBezTo>
                    <a:pt x="10379222" y="347822"/>
                    <a:pt x="10423443" y="353764"/>
                    <a:pt x="10466847" y="354131"/>
                  </a:cubicBezTo>
                  <a:cubicBezTo>
                    <a:pt x="10543353" y="354898"/>
                    <a:pt x="10619988" y="353190"/>
                    <a:pt x="10696514" y="353575"/>
                  </a:cubicBezTo>
                  <a:cubicBezTo>
                    <a:pt x="10713071" y="353680"/>
                    <a:pt x="10730069" y="359342"/>
                    <a:pt x="10746932" y="360606"/>
                  </a:cubicBezTo>
                  <a:cubicBezTo>
                    <a:pt x="10799731" y="364326"/>
                    <a:pt x="10852569" y="367289"/>
                    <a:pt x="10905388" y="370627"/>
                  </a:cubicBezTo>
                  <a:cubicBezTo>
                    <a:pt x="10935470" y="372396"/>
                    <a:pt x="10965963" y="373421"/>
                    <a:pt x="10995602" y="376691"/>
                  </a:cubicBezTo>
                  <a:cubicBezTo>
                    <a:pt x="11034750" y="381032"/>
                    <a:pt x="11070168" y="386324"/>
                    <a:pt x="11107647" y="373405"/>
                  </a:cubicBezTo>
                  <a:cubicBezTo>
                    <a:pt x="11165372" y="353347"/>
                    <a:pt x="11236837" y="366060"/>
                    <a:pt x="11302440" y="364156"/>
                  </a:cubicBezTo>
                  <a:cubicBezTo>
                    <a:pt x="11319394" y="363708"/>
                    <a:pt x="11336655" y="364422"/>
                    <a:pt x="11353613" y="363785"/>
                  </a:cubicBezTo>
                  <a:cubicBezTo>
                    <a:pt x="11384961" y="362566"/>
                    <a:pt x="11415955" y="360947"/>
                    <a:pt x="11447323" y="359346"/>
                  </a:cubicBezTo>
                  <a:cubicBezTo>
                    <a:pt x="11452855" y="359066"/>
                    <a:pt x="11459104" y="359200"/>
                    <a:pt x="11464292" y="358519"/>
                  </a:cubicBezTo>
                  <a:cubicBezTo>
                    <a:pt x="11512058" y="353010"/>
                    <a:pt x="11559143" y="346321"/>
                    <a:pt x="11607560" y="342370"/>
                  </a:cubicBezTo>
                  <a:cubicBezTo>
                    <a:pt x="11631218" y="340368"/>
                    <a:pt x="11657295" y="341352"/>
                    <a:pt x="11681426" y="344335"/>
                  </a:cubicBezTo>
                  <a:cubicBezTo>
                    <a:pt x="11751997" y="352993"/>
                    <a:pt x="11821986" y="358760"/>
                    <a:pt x="11893565" y="355261"/>
                  </a:cubicBezTo>
                  <a:cubicBezTo>
                    <a:pt x="11921973" y="353889"/>
                    <a:pt x="11953288" y="360300"/>
                    <a:pt x="11983290" y="363588"/>
                  </a:cubicBezTo>
                  <a:lnTo>
                    <a:pt x="12192000" y="388018"/>
                  </a:lnTo>
                  <a:lnTo>
                    <a:pt x="12192000" y="577115"/>
                  </a:lnTo>
                  <a:lnTo>
                    <a:pt x="12157329" y="588862"/>
                  </a:lnTo>
                  <a:cubicBezTo>
                    <a:pt x="12118393" y="608572"/>
                    <a:pt x="12109715" y="605637"/>
                    <a:pt x="12066948" y="586034"/>
                  </a:cubicBezTo>
                  <a:cubicBezTo>
                    <a:pt x="12016991" y="563193"/>
                    <a:pt x="11965119" y="541779"/>
                    <a:pt x="11911344" y="521599"/>
                  </a:cubicBezTo>
                  <a:cubicBezTo>
                    <a:pt x="11894383" y="515178"/>
                    <a:pt x="11869417" y="514060"/>
                    <a:pt x="11847823" y="511785"/>
                  </a:cubicBezTo>
                  <a:cubicBezTo>
                    <a:pt x="11811233" y="507768"/>
                    <a:pt x="11773630" y="501982"/>
                    <a:pt x="11737547" y="502380"/>
                  </a:cubicBezTo>
                  <a:cubicBezTo>
                    <a:pt x="11702930" y="502855"/>
                    <a:pt x="11668388" y="508866"/>
                    <a:pt x="11636052" y="514993"/>
                  </a:cubicBezTo>
                  <a:cubicBezTo>
                    <a:pt x="11545722" y="532199"/>
                    <a:pt x="11462455" y="555118"/>
                    <a:pt x="11394706" y="590867"/>
                  </a:cubicBezTo>
                  <a:cubicBezTo>
                    <a:pt x="11385999" y="595562"/>
                    <a:pt x="11369016" y="596581"/>
                    <a:pt x="11354978" y="597561"/>
                  </a:cubicBezTo>
                  <a:cubicBezTo>
                    <a:pt x="11332076" y="599224"/>
                    <a:pt x="11308448" y="600655"/>
                    <a:pt x="11285306" y="599825"/>
                  </a:cubicBezTo>
                  <a:cubicBezTo>
                    <a:pt x="11172906" y="595841"/>
                    <a:pt x="11083430" y="617861"/>
                    <a:pt x="11008528" y="656670"/>
                  </a:cubicBezTo>
                  <a:cubicBezTo>
                    <a:pt x="10986971" y="667750"/>
                    <a:pt x="10970753" y="668236"/>
                    <a:pt x="10948735" y="652964"/>
                  </a:cubicBezTo>
                  <a:cubicBezTo>
                    <a:pt x="10923173" y="635218"/>
                    <a:pt x="10885031" y="639705"/>
                    <a:pt x="10850698" y="641721"/>
                  </a:cubicBezTo>
                  <a:cubicBezTo>
                    <a:pt x="10815269" y="643680"/>
                    <a:pt x="10779458" y="645811"/>
                    <a:pt x="10744026" y="647769"/>
                  </a:cubicBezTo>
                  <a:cubicBezTo>
                    <a:pt x="10717832" y="649066"/>
                    <a:pt x="10692021" y="650003"/>
                    <a:pt x="10666160" y="651891"/>
                  </a:cubicBezTo>
                  <a:cubicBezTo>
                    <a:pt x="10585627" y="657783"/>
                    <a:pt x="10513854" y="650969"/>
                    <a:pt x="10450521" y="616552"/>
                  </a:cubicBezTo>
                  <a:cubicBezTo>
                    <a:pt x="10402221" y="590175"/>
                    <a:pt x="10339099" y="579806"/>
                    <a:pt x="10271192" y="583498"/>
                  </a:cubicBezTo>
                  <a:cubicBezTo>
                    <a:pt x="10262701" y="584006"/>
                    <a:pt x="10251859" y="587254"/>
                    <a:pt x="10246067" y="585423"/>
                  </a:cubicBezTo>
                  <a:cubicBezTo>
                    <a:pt x="10158786" y="558528"/>
                    <a:pt x="10086634" y="594049"/>
                    <a:pt x="10005027" y="592252"/>
                  </a:cubicBezTo>
                  <a:cubicBezTo>
                    <a:pt x="9969004" y="591507"/>
                    <a:pt x="9931565" y="603664"/>
                    <a:pt x="9898681" y="613195"/>
                  </a:cubicBezTo>
                  <a:cubicBezTo>
                    <a:pt x="9853463" y="626281"/>
                    <a:pt x="9813049" y="639042"/>
                    <a:pt x="9753225" y="629038"/>
                  </a:cubicBezTo>
                  <a:cubicBezTo>
                    <a:pt x="9693404" y="618845"/>
                    <a:pt x="9637675" y="628898"/>
                    <a:pt x="9591376" y="648601"/>
                  </a:cubicBezTo>
                  <a:cubicBezTo>
                    <a:pt x="9556001" y="663537"/>
                    <a:pt x="9518120" y="663077"/>
                    <a:pt x="9472860" y="655936"/>
                  </a:cubicBezTo>
                  <a:cubicBezTo>
                    <a:pt x="9416283" y="647056"/>
                    <a:pt x="9357217" y="643578"/>
                    <a:pt x="9299788" y="636945"/>
                  </a:cubicBezTo>
                  <a:cubicBezTo>
                    <a:pt x="9287347" y="635531"/>
                    <a:pt x="9271710" y="632039"/>
                    <a:pt x="9264605" y="627087"/>
                  </a:cubicBezTo>
                  <a:cubicBezTo>
                    <a:pt x="9177661" y="565680"/>
                    <a:pt x="9051076" y="558473"/>
                    <a:pt x="8926435" y="549269"/>
                  </a:cubicBezTo>
                  <a:cubicBezTo>
                    <a:pt x="8850925" y="543595"/>
                    <a:pt x="8774954" y="539613"/>
                    <a:pt x="8698934" y="536583"/>
                  </a:cubicBezTo>
                  <a:cubicBezTo>
                    <a:pt x="8673232" y="535428"/>
                    <a:pt x="8645916" y="537050"/>
                    <a:pt x="8622862" y="541563"/>
                  </a:cubicBezTo>
                  <a:cubicBezTo>
                    <a:pt x="8574890" y="551069"/>
                    <a:pt x="8530403" y="564380"/>
                    <a:pt x="8482784" y="574094"/>
                  </a:cubicBezTo>
                  <a:cubicBezTo>
                    <a:pt x="8464923" y="577929"/>
                    <a:pt x="8442157" y="576927"/>
                    <a:pt x="8421565" y="576610"/>
                  </a:cubicBezTo>
                  <a:cubicBezTo>
                    <a:pt x="8385152" y="576229"/>
                    <a:pt x="8345023" y="569546"/>
                    <a:pt x="8313469" y="574762"/>
                  </a:cubicBezTo>
                  <a:cubicBezTo>
                    <a:pt x="8231431" y="588203"/>
                    <a:pt x="8155671" y="580227"/>
                    <a:pt x="8079520" y="558685"/>
                  </a:cubicBezTo>
                  <a:cubicBezTo>
                    <a:pt x="7972906" y="528487"/>
                    <a:pt x="7870782" y="525043"/>
                    <a:pt x="7773327" y="558854"/>
                  </a:cubicBezTo>
                  <a:cubicBezTo>
                    <a:pt x="7729470" y="574107"/>
                    <a:pt x="7688069" y="563543"/>
                    <a:pt x="7652477" y="547561"/>
                  </a:cubicBezTo>
                  <a:cubicBezTo>
                    <a:pt x="7611494" y="529005"/>
                    <a:pt x="7570974" y="522685"/>
                    <a:pt x="7522274" y="532150"/>
                  </a:cubicBezTo>
                  <a:cubicBezTo>
                    <a:pt x="7511488" y="534257"/>
                    <a:pt x="7496511" y="532136"/>
                    <a:pt x="7484080" y="530532"/>
                  </a:cubicBezTo>
                  <a:cubicBezTo>
                    <a:pt x="7413133" y="522044"/>
                    <a:pt x="7341987" y="510303"/>
                    <a:pt x="7282277" y="540177"/>
                  </a:cubicBezTo>
                  <a:cubicBezTo>
                    <a:pt x="7270558" y="546051"/>
                    <a:pt x="7251336" y="547713"/>
                    <a:pt x="7235690" y="551282"/>
                  </a:cubicBezTo>
                  <a:cubicBezTo>
                    <a:pt x="7170161" y="565782"/>
                    <a:pt x="7172820" y="564203"/>
                    <a:pt x="7116339" y="539494"/>
                  </a:cubicBezTo>
                  <a:cubicBezTo>
                    <a:pt x="7086841" y="526502"/>
                    <a:pt x="7045980" y="512724"/>
                    <a:pt x="7011067" y="511848"/>
                  </a:cubicBezTo>
                  <a:cubicBezTo>
                    <a:pt x="6800473" y="506533"/>
                    <a:pt x="6601893" y="468653"/>
                    <a:pt x="6403234" y="432296"/>
                  </a:cubicBezTo>
                  <a:cubicBezTo>
                    <a:pt x="6280760" y="409851"/>
                    <a:pt x="6160432" y="402592"/>
                    <a:pt x="6036273" y="412301"/>
                  </a:cubicBezTo>
                  <a:cubicBezTo>
                    <a:pt x="5946471" y="419425"/>
                    <a:pt x="5863077" y="395593"/>
                    <a:pt x="5780467" y="377910"/>
                  </a:cubicBezTo>
                  <a:cubicBezTo>
                    <a:pt x="5763357" y="374343"/>
                    <a:pt x="5747757" y="363033"/>
                    <a:pt x="5739051" y="353609"/>
                  </a:cubicBezTo>
                  <a:cubicBezTo>
                    <a:pt x="5707675" y="320294"/>
                    <a:pt x="5653252" y="312483"/>
                    <a:pt x="5583566" y="321995"/>
                  </a:cubicBezTo>
                  <a:cubicBezTo>
                    <a:pt x="5528347" y="329404"/>
                    <a:pt x="5477716" y="340486"/>
                    <a:pt x="5432030" y="362512"/>
                  </a:cubicBezTo>
                  <a:cubicBezTo>
                    <a:pt x="5378421" y="388318"/>
                    <a:pt x="5322767" y="418026"/>
                    <a:pt x="5241398" y="425781"/>
                  </a:cubicBezTo>
                  <a:cubicBezTo>
                    <a:pt x="5206262" y="429089"/>
                    <a:pt x="5176131" y="428273"/>
                    <a:pt x="5139710" y="421022"/>
                  </a:cubicBezTo>
                  <a:cubicBezTo>
                    <a:pt x="5069048" y="407018"/>
                    <a:pt x="4997864" y="396037"/>
                    <a:pt x="4929402" y="424310"/>
                  </a:cubicBezTo>
                  <a:cubicBezTo>
                    <a:pt x="4891785" y="439890"/>
                    <a:pt x="4841650" y="448519"/>
                    <a:pt x="4782793" y="441046"/>
                  </a:cubicBezTo>
                  <a:cubicBezTo>
                    <a:pt x="4709316" y="431663"/>
                    <a:pt x="4641426" y="442031"/>
                    <a:pt x="4577594" y="459290"/>
                  </a:cubicBezTo>
                  <a:cubicBezTo>
                    <a:pt x="4554816" y="465538"/>
                    <a:pt x="4527069" y="468279"/>
                    <a:pt x="4500826" y="470529"/>
                  </a:cubicBezTo>
                  <a:cubicBezTo>
                    <a:pt x="4440199" y="475746"/>
                    <a:pt x="4379252" y="479993"/>
                    <a:pt x="4317973" y="483649"/>
                  </a:cubicBezTo>
                  <a:cubicBezTo>
                    <a:pt x="4267762" y="486741"/>
                    <a:pt x="4217264" y="488292"/>
                    <a:pt x="4166722" y="490602"/>
                  </a:cubicBezTo>
                  <a:cubicBezTo>
                    <a:pt x="4111394" y="493045"/>
                    <a:pt x="4067073" y="503124"/>
                    <a:pt x="4042814" y="530660"/>
                  </a:cubicBezTo>
                  <a:cubicBezTo>
                    <a:pt x="4034996" y="539407"/>
                    <a:pt x="4017001" y="545715"/>
                    <a:pt x="4002653" y="552594"/>
                  </a:cubicBezTo>
                  <a:cubicBezTo>
                    <a:pt x="3992459" y="557592"/>
                    <a:pt x="3979023" y="561086"/>
                    <a:pt x="3969549" y="566312"/>
                  </a:cubicBezTo>
                  <a:cubicBezTo>
                    <a:pt x="3919896" y="593854"/>
                    <a:pt x="3870968" y="621622"/>
                    <a:pt x="3821685" y="649183"/>
                  </a:cubicBezTo>
                  <a:cubicBezTo>
                    <a:pt x="3816761" y="651788"/>
                    <a:pt x="3811445" y="654943"/>
                    <a:pt x="3805138" y="655947"/>
                  </a:cubicBezTo>
                  <a:cubicBezTo>
                    <a:pt x="3739817" y="666451"/>
                    <a:pt x="3673801" y="676154"/>
                    <a:pt x="3609177" y="687459"/>
                  </a:cubicBezTo>
                  <a:cubicBezTo>
                    <a:pt x="3584288" y="691878"/>
                    <a:pt x="3558597" y="697589"/>
                    <a:pt x="3539727" y="706521"/>
                  </a:cubicBezTo>
                  <a:cubicBezTo>
                    <a:pt x="3496714" y="726780"/>
                    <a:pt x="3457268" y="749132"/>
                    <a:pt x="3396572" y="755681"/>
                  </a:cubicBezTo>
                  <a:cubicBezTo>
                    <a:pt x="3378807" y="757611"/>
                    <a:pt x="3357809" y="758036"/>
                    <a:pt x="3341054" y="754679"/>
                  </a:cubicBezTo>
                  <a:cubicBezTo>
                    <a:pt x="3272962" y="740809"/>
                    <a:pt x="3206471" y="724541"/>
                    <a:pt x="3138775" y="710120"/>
                  </a:cubicBezTo>
                  <a:cubicBezTo>
                    <a:pt x="3095820" y="701191"/>
                    <a:pt x="3056969" y="691141"/>
                    <a:pt x="3037283" y="666453"/>
                  </a:cubicBezTo>
                  <a:cubicBezTo>
                    <a:pt x="3031764" y="659487"/>
                    <a:pt x="3015626" y="651391"/>
                    <a:pt x="3002117" y="649347"/>
                  </a:cubicBezTo>
                  <a:cubicBezTo>
                    <a:pt x="2915220" y="636209"/>
                    <a:pt x="2829194" y="627503"/>
                    <a:pt x="2747294" y="652400"/>
                  </a:cubicBezTo>
                  <a:cubicBezTo>
                    <a:pt x="2730084" y="657794"/>
                    <a:pt x="2698519" y="656140"/>
                    <a:pt x="2676273" y="652304"/>
                  </a:cubicBezTo>
                  <a:cubicBezTo>
                    <a:pt x="2590546" y="637890"/>
                    <a:pt x="2508883" y="630176"/>
                    <a:pt x="2432360" y="657836"/>
                  </a:cubicBezTo>
                  <a:cubicBezTo>
                    <a:pt x="2423352" y="661179"/>
                    <a:pt x="2395274" y="656272"/>
                    <a:pt x="2382311" y="650824"/>
                  </a:cubicBezTo>
                  <a:cubicBezTo>
                    <a:pt x="2257393" y="597728"/>
                    <a:pt x="2187724" y="592930"/>
                    <a:pt x="2055134" y="630053"/>
                  </a:cubicBezTo>
                  <a:cubicBezTo>
                    <a:pt x="2046542" y="632464"/>
                    <a:pt x="2035364" y="635121"/>
                    <a:pt x="2031829" y="639324"/>
                  </a:cubicBezTo>
                  <a:cubicBezTo>
                    <a:pt x="2007977" y="666120"/>
                    <a:pt x="1960229" y="664380"/>
                    <a:pt x="1912764" y="664183"/>
                  </a:cubicBezTo>
                  <a:cubicBezTo>
                    <a:pt x="1860521" y="663924"/>
                    <a:pt x="1808236" y="664426"/>
                    <a:pt x="1755637" y="663960"/>
                  </a:cubicBezTo>
                  <a:cubicBezTo>
                    <a:pt x="1746439" y="663859"/>
                    <a:pt x="1736243" y="661799"/>
                    <a:pt x="1727159" y="659605"/>
                  </a:cubicBezTo>
                  <a:cubicBezTo>
                    <a:pt x="1692256" y="651480"/>
                    <a:pt x="1658604" y="640559"/>
                    <a:pt x="1622470" y="634850"/>
                  </a:cubicBezTo>
                  <a:cubicBezTo>
                    <a:pt x="1544362" y="622552"/>
                    <a:pt x="1469248" y="602210"/>
                    <a:pt x="1385955" y="604522"/>
                  </a:cubicBezTo>
                  <a:cubicBezTo>
                    <a:pt x="1371585" y="604913"/>
                    <a:pt x="1355357" y="598530"/>
                    <a:pt x="1340055" y="595629"/>
                  </a:cubicBezTo>
                  <a:cubicBezTo>
                    <a:pt x="1312351" y="590552"/>
                    <a:pt x="1285460" y="583993"/>
                    <a:pt x="1257271" y="581180"/>
                  </a:cubicBezTo>
                  <a:cubicBezTo>
                    <a:pt x="1182583" y="573830"/>
                    <a:pt x="1107142" y="566824"/>
                    <a:pt x="1031914" y="562692"/>
                  </a:cubicBezTo>
                  <a:cubicBezTo>
                    <a:pt x="995593" y="560597"/>
                    <a:pt x="958880" y="565923"/>
                    <a:pt x="922031" y="566853"/>
                  </a:cubicBezTo>
                  <a:cubicBezTo>
                    <a:pt x="905446" y="567320"/>
                    <a:pt x="878533" y="568199"/>
                    <a:pt x="873250" y="563724"/>
                  </a:cubicBezTo>
                  <a:cubicBezTo>
                    <a:pt x="832343" y="529722"/>
                    <a:pt x="772202" y="532674"/>
                    <a:pt x="711627" y="529880"/>
                  </a:cubicBezTo>
                  <a:cubicBezTo>
                    <a:pt x="577999" y="523641"/>
                    <a:pt x="447408" y="543696"/>
                    <a:pt x="311112" y="525106"/>
                  </a:cubicBezTo>
                  <a:cubicBezTo>
                    <a:pt x="271645" y="519795"/>
                    <a:pt x="226936" y="530235"/>
                    <a:pt x="184145" y="532188"/>
                  </a:cubicBezTo>
                  <a:cubicBezTo>
                    <a:pt x="162015" y="533128"/>
                    <a:pt x="137665" y="534333"/>
                    <a:pt x="116886" y="530572"/>
                  </a:cubicBezTo>
                  <a:cubicBezTo>
                    <a:pt x="84810" y="524693"/>
                    <a:pt x="54011" y="515448"/>
                    <a:pt x="23941" y="506433"/>
                  </a:cubicBezTo>
                  <a:lnTo>
                    <a:pt x="0" y="502149"/>
                  </a:lnTo>
                  <a:close/>
                </a:path>
              </a:pathLst>
            </a:custGeom>
            <a:blipFill>
              <a:blip r:embed="rId2">
                <a:alphaModFix amt="57000"/>
              </a:blip>
              <a:tile tx="0" ty="0" sx="100000" sy="100000" flip="none" algn="tl"/>
            </a:blip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pic>
        <p:nvPicPr>
          <p:cNvPr id="4" name="Obrázek 3">
            <a:extLst>
              <a:ext uri="{FF2B5EF4-FFF2-40B4-BE49-F238E27FC236}">
                <a16:creationId xmlns:a16="http://schemas.microsoft.com/office/drawing/2014/main" id="{9B338CAB-4D1A-A966-9833-0C7D9D00BFB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4286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607313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C9AEDDF0-D7AB-0C11-55B0-BB0ECE81B4B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sz="2400" dirty="0"/>
              <a:t>Nevybírejte si brněnská sídliště.</a:t>
            </a:r>
          </a:p>
          <a:p>
            <a:pPr marL="457200" lvl="1" indent="0">
              <a:buNone/>
            </a:pPr>
            <a:r>
              <a:rPr lang="cs-CZ" sz="2000" dirty="0"/>
              <a:t>A je vás málo, ideálně si vyberte každý jiné …..</a:t>
            </a:r>
          </a:p>
          <a:p>
            <a:r>
              <a:rPr lang="cs-CZ" sz="2400" dirty="0"/>
              <a:t>Rozsah 1 A4 textu + obrázky.</a:t>
            </a:r>
          </a:p>
          <a:p>
            <a:endParaRPr lang="cs-CZ" sz="2400" dirty="0"/>
          </a:p>
          <a:p>
            <a:endParaRPr lang="cs-CZ" sz="2400" dirty="0"/>
          </a:p>
          <a:p>
            <a:endParaRPr lang="cs-CZ" sz="2400" dirty="0"/>
          </a:p>
          <a:p>
            <a:endParaRPr lang="cs-CZ" sz="2400" dirty="0"/>
          </a:p>
          <a:p>
            <a:pPr algn="ctr"/>
            <a:r>
              <a:rPr lang="cs-CZ" sz="2400" b="1" dirty="0"/>
              <a:t>DEADLINE: 20. 11. 2023 5:59 </a:t>
            </a:r>
          </a:p>
        </p:txBody>
      </p:sp>
      <p:sp>
        <p:nvSpPr>
          <p:cNvPr id="4" name="Nadpis 1">
            <a:extLst>
              <a:ext uri="{FF2B5EF4-FFF2-40B4-BE49-F238E27FC236}">
                <a16:creationId xmlns:a16="http://schemas.microsoft.com/office/drawing/2014/main" id="{2CE5332C-D0D8-77C8-8B6C-F0ADFE0EC090}"/>
              </a:ext>
            </a:extLst>
          </p:cNvPr>
          <p:cNvSpPr txBox="1">
            <a:spLocks/>
          </p:cNvSpPr>
          <p:nvPr/>
        </p:nvSpPr>
        <p:spPr>
          <a:xfrm>
            <a:off x="953277" y="37756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cs-CZ" b="1" u="sng" dirty="0"/>
              <a:t>ZADÁNÍ CVIČENÍ</a:t>
            </a:r>
          </a:p>
        </p:txBody>
      </p:sp>
      <p:pic>
        <p:nvPicPr>
          <p:cNvPr id="6" name="Obrázek 5">
            <a:extLst>
              <a:ext uri="{FF2B5EF4-FFF2-40B4-BE49-F238E27FC236}">
                <a16:creationId xmlns:a16="http://schemas.microsoft.com/office/drawing/2014/main" id="{1AB5F45A-307F-DADE-0E69-ADBA0B24523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22805" y="1825625"/>
            <a:ext cx="4295468" cy="24946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609988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F4C4281-F465-1EB3-2681-234C9784DC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766218"/>
            <a:ext cx="10515600" cy="1325563"/>
          </a:xfrm>
        </p:spPr>
        <p:txBody>
          <a:bodyPr/>
          <a:lstStyle/>
          <a:p>
            <a:pPr algn="ctr"/>
            <a:r>
              <a:rPr lang="cs-CZ" b="1" dirty="0"/>
              <a:t>DĚKUJI ZA POZORNOST</a:t>
            </a:r>
          </a:p>
        </p:txBody>
      </p:sp>
    </p:spTree>
    <p:extLst>
      <p:ext uri="{BB962C8B-B14F-4D97-AF65-F5344CB8AC3E}">
        <p14:creationId xmlns:p14="http://schemas.microsoft.com/office/powerpoint/2010/main" val="210978986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47E9CFE-AD80-7246-5C9B-85EC1A58FE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cs-CZ" b="1" dirty="0"/>
              <a:t>K. TEIGE – MINIMÁLNÍ BYT A KOLEKTIVNÍ DŮM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41AB52D8-36FF-6EB9-8ECD-842526166AE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559665"/>
            <a:ext cx="10515600" cy="1738669"/>
          </a:xfrm>
        </p:spPr>
        <p:txBody>
          <a:bodyPr/>
          <a:lstStyle/>
          <a:p>
            <a:r>
              <a:rPr lang="cs-CZ" dirty="0"/>
              <a:t>Vaše názory, komentáře….</a:t>
            </a:r>
          </a:p>
        </p:txBody>
      </p:sp>
    </p:spTree>
    <p:extLst>
      <p:ext uri="{BB962C8B-B14F-4D97-AF65-F5344CB8AC3E}">
        <p14:creationId xmlns:p14="http://schemas.microsoft.com/office/powerpoint/2010/main" val="26010137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4567791-A4F7-BE11-5A88-7E70936E9B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819863"/>
          </a:xfrm>
        </p:spPr>
        <p:txBody>
          <a:bodyPr/>
          <a:lstStyle/>
          <a:p>
            <a:pPr algn="ctr"/>
            <a:r>
              <a:rPr lang="cs-CZ" b="1" u="sng" dirty="0"/>
              <a:t>PANELOVÁ SÍDLIŠTĚ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479A25EC-77EE-D1A0-C24C-7D55CDD494B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90688"/>
            <a:ext cx="10843727" cy="4802187"/>
          </a:xfrm>
        </p:spPr>
        <p:txBody>
          <a:bodyPr>
            <a:normAutofit fontScale="92500" lnSpcReduction="20000"/>
          </a:bodyPr>
          <a:lstStyle/>
          <a:p>
            <a:r>
              <a:rPr lang="cs-CZ" sz="2200" dirty="0"/>
              <a:t>První panelové domy byly postaveny v západním bloku (</a:t>
            </a:r>
            <a:r>
              <a:rPr lang="cs-CZ" sz="2200" b="1" dirty="0"/>
              <a:t>Nizozemsko po 1. světové válce</a:t>
            </a:r>
            <a:r>
              <a:rPr lang="cs-CZ" sz="2200" dirty="0"/>
              <a:t>, Německo 1923, první blok panelových domů v Paříži 1939). </a:t>
            </a:r>
          </a:p>
          <a:p>
            <a:r>
              <a:rPr lang="cs-CZ" sz="2200" dirty="0"/>
              <a:t>Úspěch ale zejména po 2. světové válce ve východním bloku (idea stejnosti).</a:t>
            </a:r>
          </a:p>
          <a:p>
            <a:r>
              <a:rPr lang="cs-CZ" sz="2200" dirty="0"/>
              <a:t>Podnětem pro výstavbu panelových sídlišť byla mimo jiné </a:t>
            </a:r>
            <a:r>
              <a:rPr lang="cs-CZ" sz="2200" b="1" dirty="0"/>
              <a:t>bytová krize. </a:t>
            </a:r>
          </a:p>
          <a:p>
            <a:r>
              <a:rPr lang="cs-CZ" sz="2200" dirty="0"/>
              <a:t>Stavba v rámci </a:t>
            </a:r>
            <a:r>
              <a:rPr lang="cs-CZ" sz="2200" b="1" dirty="0"/>
              <a:t>centrálně řízené bytové výstavby</a:t>
            </a:r>
            <a:r>
              <a:rPr lang="cs-CZ" sz="2200" dirty="0"/>
              <a:t>, která byla z velké části zajišťována bytovými družstvy. </a:t>
            </a:r>
          </a:p>
          <a:p>
            <a:pPr marL="0" indent="0">
              <a:buNone/>
            </a:pPr>
            <a:endParaRPr lang="cs-CZ" sz="2200" b="1" dirty="0"/>
          </a:p>
          <a:p>
            <a:r>
              <a:rPr lang="cs-CZ" sz="2200" b="1" dirty="0">
                <a:solidFill>
                  <a:srgbClr val="C00000"/>
                </a:solidFill>
              </a:rPr>
              <a:t>Snaha byla zajistit dostupné bydlení v co nejkratší době. </a:t>
            </a:r>
          </a:p>
          <a:p>
            <a:r>
              <a:rPr lang="cs-CZ" sz="2200" b="1" dirty="0">
                <a:solidFill>
                  <a:srgbClr val="C00000"/>
                </a:solidFill>
              </a:rPr>
              <a:t>Zároveň této ideologii vyhovovaly naprosto unifikované byty, pro „typické rodiny“, na které mají všichni stejný nárok = dostupné bydlení pro všechny.</a:t>
            </a:r>
          </a:p>
          <a:p>
            <a:endParaRPr lang="cs-CZ" sz="2200" b="1" dirty="0">
              <a:solidFill>
                <a:srgbClr val="C00000"/>
              </a:solidFill>
            </a:endParaRPr>
          </a:p>
          <a:p>
            <a:r>
              <a:rPr lang="cs-CZ" sz="2200" dirty="0"/>
              <a:t>V ČSSR první dům </a:t>
            </a:r>
            <a:r>
              <a:rPr lang="cs-CZ" sz="2200" b="1" dirty="0"/>
              <a:t>1953 ve Zlíně</a:t>
            </a:r>
            <a:r>
              <a:rPr lang="cs-CZ" sz="2200" dirty="0"/>
              <a:t>, masová výstavba zejména v 70. a 80. letech.</a:t>
            </a:r>
          </a:p>
          <a:p>
            <a:pPr marL="0" indent="0">
              <a:buNone/>
            </a:pPr>
            <a:endParaRPr lang="cs-CZ" sz="2200" dirty="0"/>
          </a:p>
          <a:p>
            <a:r>
              <a:rPr lang="cs-CZ" sz="2200" dirty="0"/>
              <a:t>Automatizace výrobního procesu – důraz na ekonomické hledisko. </a:t>
            </a:r>
          </a:p>
          <a:p>
            <a:r>
              <a:rPr lang="cs-CZ" sz="2200" dirty="0"/>
              <a:t>Významná role v bytovém fondu, </a:t>
            </a:r>
            <a:r>
              <a:rPr lang="cs-CZ" sz="2200" b="1" dirty="0"/>
              <a:t>žije v nich zhruba třetina obyvatel</a:t>
            </a:r>
            <a:r>
              <a:rPr lang="cs-CZ" sz="2200" dirty="0"/>
              <a:t>.</a:t>
            </a:r>
          </a:p>
          <a:p>
            <a:endParaRPr lang="cs-CZ" sz="2200" dirty="0"/>
          </a:p>
          <a:p>
            <a:endParaRPr lang="cs-CZ" sz="2200" dirty="0"/>
          </a:p>
        </p:txBody>
      </p:sp>
    </p:spTree>
    <p:extLst>
      <p:ext uri="{BB962C8B-B14F-4D97-AF65-F5344CB8AC3E}">
        <p14:creationId xmlns:p14="http://schemas.microsoft.com/office/powerpoint/2010/main" val="61319994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133E49C5-3FD4-4815-6683-7F3AAE32E7E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539551"/>
            <a:ext cx="10515600" cy="5057192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cs-CZ" sz="2000" b="1" dirty="0"/>
              <a:t>HYGIENA A PROSTŘEDÍ</a:t>
            </a:r>
          </a:p>
          <a:p>
            <a:r>
              <a:rPr lang="cs-CZ" sz="2000" dirty="0"/>
              <a:t>Vznik panelových sídlišť v České republice nebyl přímou reakcí na Athénskou chartu (CIAM,1933), ale vzal si z funkcionalistického urbanismu některé základní myšlenky.</a:t>
            </a:r>
          </a:p>
          <a:p>
            <a:r>
              <a:rPr lang="cs-CZ" sz="2000" u="sng" dirty="0"/>
              <a:t>Právo každého na zdravé prostředí</a:t>
            </a:r>
            <a:r>
              <a:rPr lang="cs-CZ" sz="2000" dirty="0"/>
              <a:t>: panelové domy umístěné s velkými odstupy - dodávají dostatek světla i nejníže umístěným bytům + zamezují velkému hluku. </a:t>
            </a:r>
          </a:p>
          <a:p>
            <a:pPr marL="0" indent="0">
              <a:buNone/>
            </a:pPr>
            <a:endParaRPr lang="cs-CZ" sz="2000" dirty="0"/>
          </a:p>
          <a:p>
            <a:pPr marL="0" indent="0">
              <a:buNone/>
            </a:pPr>
            <a:r>
              <a:rPr lang="cs-CZ" sz="2000" b="1" dirty="0"/>
              <a:t>VEŘEJNÉ PROSTORY A PARKY</a:t>
            </a:r>
          </a:p>
          <a:p>
            <a:r>
              <a:rPr lang="cs-CZ" sz="2000" dirty="0"/>
              <a:t>Potlačit rozdíl mezi kulturním a přírodním + veřejným a soukromým prostředím.</a:t>
            </a:r>
          </a:p>
          <a:p>
            <a:r>
              <a:rPr lang="cs-CZ" sz="2000" dirty="0"/>
              <a:t>Kombinace městského způsobu žití, ale zároveň klid a snadno dostupné parkové plochy.</a:t>
            </a:r>
          </a:p>
          <a:p>
            <a:r>
              <a:rPr lang="cs-CZ" sz="2000" dirty="0"/>
              <a:t>Problémem: nevyužití veřejných ploch mezi panelovými domy. </a:t>
            </a:r>
          </a:p>
          <a:p>
            <a:pPr marL="0" indent="0">
              <a:buNone/>
            </a:pPr>
            <a:endParaRPr lang="cs-CZ" sz="2000" dirty="0"/>
          </a:p>
          <a:p>
            <a:pPr marL="0" indent="0">
              <a:buNone/>
            </a:pPr>
            <a:r>
              <a:rPr lang="cs-CZ" sz="2000" b="1" dirty="0"/>
              <a:t>DOPRAVA A PARKOVÁNÍ</a:t>
            </a:r>
          </a:p>
          <a:p>
            <a:r>
              <a:rPr lang="cs-CZ" sz="2000" dirty="0"/>
              <a:t>Původní zelené plochy začaly postupně ustupovat parkování -&gt; „bydlení v parku“ se proměnilo v „bydlení na parkovišti“.  </a:t>
            </a:r>
          </a:p>
          <a:p>
            <a:r>
              <a:rPr lang="cs-CZ" sz="2000" dirty="0"/>
              <a:t>Postupný nedostatek parkovacích míst.</a:t>
            </a:r>
          </a:p>
        </p:txBody>
      </p:sp>
      <p:sp>
        <p:nvSpPr>
          <p:cNvPr id="4" name="Nadpis 1">
            <a:extLst>
              <a:ext uri="{FF2B5EF4-FFF2-40B4-BE49-F238E27FC236}">
                <a16:creationId xmlns:a16="http://schemas.microsoft.com/office/drawing/2014/main" id="{103BE735-712D-8FD0-6310-F1B7BEEB6286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8198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cs-CZ" b="1" u="sng"/>
              <a:t>PANELOVÁ SÍDLIŠTĚ</a:t>
            </a:r>
            <a:endParaRPr lang="cs-CZ" b="1" u="sng" dirty="0"/>
          </a:p>
        </p:txBody>
      </p:sp>
    </p:spTree>
    <p:extLst>
      <p:ext uri="{BB962C8B-B14F-4D97-AF65-F5344CB8AC3E}">
        <p14:creationId xmlns:p14="http://schemas.microsoft.com/office/powerpoint/2010/main" val="35166574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133E49C5-3FD4-4815-6683-7F3AAE32E7E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771118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endParaRPr lang="cs-CZ" sz="2000" b="1" dirty="0"/>
          </a:p>
          <a:p>
            <a:pPr marL="0" indent="0">
              <a:buNone/>
            </a:pPr>
            <a:r>
              <a:rPr lang="cs-CZ" sz="2000" b="1" dirty="0"/>
              <a:t>TYPIZACE X INDIVIDUALISMUS:  NEČITELNOST, ODOSOBNĚNÍ </a:t>
            </a:r>
          </a:p>
          <a:p>
            <a:r>
              <a:rPr lang="cs-CZ" sz="2000" dirty="0"/>
              <a:t>Nečitelnost místa.</a:t>
            </a:r>
          </a:p>
          <a:p>
            <a:r>
              <a:rPr lang="cs-CZ" sz="2000" dirty="0"/>
              <a:t>Potlačení vlastní identit / jedinečnosti. </a:t>
            </a:r>
          </a:p>
          <a:p>
            <a:pPr marL="0" indent="0">
              <a:buNone/>
            </a:pPr>
            <a:endParaRPr lang="cs-CZ" sz="2000" b="1" dirty="0"/>
          </a:p>
          <a:p>
            <a:pPr marL="0" indent="0">
              <a:buNone/>
            </a:pPr>
            <a:r>
              <a:rPr lang="cs-CZ" sz="2000" b="1" dirty="0"/>
              <a:t>MONOFUNKČNOST</a:t>
            </a:r>
          </a:p>
          <a:p>
            <a:r>
              <a:rPr lang="cs-CZ" sz="2000" dirty="0"/>
              <a:t>Nedostatek veřejné i občanské vybavenosti.</a:t>
            </a:r>
          </a:p>
          <a:p>
            <a:r>
              <a:rPr lang="cs-CZ" sz="2000" dirty="0"/>
              <a:t>Absence služeb - obchody, restaurace, kavárny, ….</a:t>
            </a:r>
          </a:p>
          <a:p>
            <a:endParaRPr lang="cs-CZ" sz="2000" b="1" dirty="0"/>
          </a:p>
          <a:p>
            <a:pPr marL="0" indent="0">
              <a:buNone/>
            </a:pPr>
            <a:r>
              <a:rPr lang="cs-CZ" sz="2000" b="1" dirty="0"/>
              <a:t>SOCIODEMOGRAFICKÉ TENDENCE</a:t>
            </a:r>
          </a:p>
          <a:p>
            <a:r>
              <a:rPr lang="cs-CZ" sz="2000" dirty="0"/>
              <a:t>Ohroženy stárnutím obyvatel, odlivem obyvatel. </a:t>
            </a:r>
          </a:p>
          <a:p>
            <a:r>
              <a:rPr lang="cs-CZ" sz="2000" dirty="0"/>
              <a:t>Nejhorší scénáře vzniku sociálně-homogenních zón se nepotvrdily. </a:t>
            </a:r>
          </a:p>
        </p:txBody>
      </p:sp>
      <p:sp>
        <p:nvSpPr>
          <p:cNvPr id="4" name="Nadpis 1">
            <a:extLst>
              <a:ext uri="{FF2B5EF4-FFF2-40B4-BE49-F238E27FC236}">
                <a16:creationId xmlns:a16="http://schemas.microsoft.com/office/drawing/2014/main" id="{103BE735-712D-8FD0-6310-F1B7BEEB6286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8198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cs-CZ" b="1" u="sng"/>
              <a:t>PANELOVÁ SÍDLIŠTĚ</a:t>
            </a:r>
            <a:endParaRPr lang="cs-CZ" b="1" u="sng" dirty="0"/>
          </a:p>
        </p:txBody>
      </p:sp>
    </p:spTree>
    <p:extLst>
      <p:ext uri="{BB962C8B-B14F-4D97-AF65-F5344CB8AC3E}">
        <p14:creationId xmlns:p14="http://schemas.microsoft.com/office/powerpoint/2010/main" val="40777136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>
            <a:extLst>
              <a:ext uri="{FF2B5EF4-FFF2-40B4-BE49-F238E27FC236}">
                <a16:creationId xmlns:a16="http://schemas.microsoft.com/office/drawing/2014/main" id="{749F80BE-AEF1-2DA1-9083-9FDE00D7E38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51982" y="272154"/>
            <a:ext cx="5250635" cy="6027942"/>
          </a:xfrm>
          <a:prstGeom prst="rect">
            <a:avLst/>
          </a:prstGeom>
        </p:spPr>
      </p:pic>
      <p:sp>
        <p:nvSpPr>
          <p:cNvPr id="4" name="TextovéPole 3">
            <a:extLst>
              <a:ext uri="{FF2B5EF4-FFF2-40B4-BE49-F238E27FC236}">
                <a16:creationId xmlns:a16="http://schemas.microsoft.com/office/drawing/2014/main" id="{7F31DA93-5DD6-1197-605D-E5F0FDCC3383}"/>
              </a:ext>
            </a:extLst>
          </p:cNvPr>
          <p:cNvSpPr txBox="1"/>
          <p:nvPr/>
        </p:nvSpPr>
        <p:spPr>
          <a:xfrm>
            <a:off x="767944" y="1284320"/>
            <a:ext cx="5484038" cy="51090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3200" b="1" dirty="0"/>
              <a:t>BRNO</a:t>
            </a:r>
          </a:p>
          <a:p>
            <a:endParaRPr lang="cs-CZ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2000" dirty="0"/>
              <a:t>Výstavba především od 60. l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2000" dirty="0"/>
              <a:t>Nejvýraznější sídliště ze 70. a 80. let,</a:t>
            </a:r>
          </a:p>
          <a:p>
            <a:pPr lvl="1"/>
            <a:r>
              <a:rPr lang="cs-CZ" sz="2000" dirty="0"/>
              <a:t>na Starém Lískovci, Vinohradech, v Líšni či v Bohunicích</a:t>
            </a:r>
          </a:p>
          <a:p>
            <a:pPr lvl="1"/>
            <a:endParaRPr lang="cs-CZ" sz="2000" dirty="0"/>
          </a:p>
          <a:p>
            <a:pPr lvl="1"/>
            <a:endParaRPr lang="cs-CZ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2000" dirty="0"/>
              <a:t>Největší sídliště: Bystrc - přes 20 000 obyvatel, Líšeň - 18 500 obyvatel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2000" dirty="0"/>
              <a:t>Nejmenší sídliště: Kamechy - necelých 500 obyvatel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2000" dirty="0"/>
              <a:t>V současné době zde žije téměř 180 000 obyvatel</a:t>
            </a:r>
            <a:r>
              <a:rPr lang="cs-CZ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cs-CZ" dirty="0"/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65126955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cs-CZ" b="1" dirty="0"/>
              <a:t>K přečtení… 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838200" y="2141537"/>
            <a:ext cx="10515600" cy="3466161"/>
          </a:xfrm>
        </p:spPr>
        <p:txBody>
          <a:bodyPr/>
          <a:lstStyle/>
          <a:p>
            <a:r>
              <a:rPr lang="cs-CZ" sz="2000" dirty="0"/>
              <a:t>Šedá léta normalizační a éra levných energií. Jak se stavělo?</a:t>
            </a:r>
          </a:p>
          <a:p>
            <a:r>
              <a:rPr lang="cs-CZ" sz="2000" dirty="0">
                <a:hlinkClick r:id="rId4"/>
              </a:rPr>
              <a:t>https://www.lidovky.cz/relax/design/seda-leta-normalizacni.A181105_115834_ln-bydleni_ape</a:t>
            </a:r>
            <a:endParaRPr lang="cs-CZ" sz="2000" dirty="0"/>
          </a:p>
          <a:p>
            <a:pPr marL="0" indent="0">
              <a:buNone/>
            </a:pPr>
            <a:endParaRPr lang="cs-CZ" sz="2000" dirty="0"/>
          </a:p>
          <a:p>
            <a:pPr marL="0" indent="0">
              <a:buNone/>
            </a:pPr>
            <a:endParaRPr lang="cs-CZ" sz="2000" dirty="0"/>
          </a:p>
          <a:p>
            <a:r>
              <a:rPr lang="cs-CZ" sz="2000" dirty="0"/>
              <a:t>NEJ rekordy paneláků. Sídliště, kde se bojí policie, i nejdelší chodba</a:t>
            </a:r>
          </a:p>
          <a:p>
            <a:r>
              <a:rPr lang="cs-CZ" sz="2000" dirty="0">
                <a:hlinkClick r:id="rId5"/>
              </a:rPr>
              <a:t>https://www.idnes.cz/bydleni/panelak/bydleni-v-panelaku.A150917_170218_architektura_web</a:t>
            </a:r>
            <a:endParaRPr lang="cs-CZ" sz="2000" dirty="0"/>
          </a:p>
          <a:p>
            <a:endParaRPr lang="cs-CZ" sz="2000" dirty="0"/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506423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06082CB5-0C0C-1DEE-C1D3-1C45100303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977900"/>
          </a:xfrm>
        </p:spPr>
        <p:txBody>
          <a:bodyPr/>
          <a:lstStyle/>
          <a:p>
            <a:r>
              <a:rPr lang="cs-CZ" b="1" dirty="0"/>
              <a:t>PANELAKY.INFO</a:t>
            </a:r>
          </a:p>
        </p:txBody>
      </p:sp>
      <p:pic>
        <p:nvPicPr>
          <p:cNvPr id="5" name="Zástupný obsah 4">
            <a:extLst>
              <a:ext uri="{FF2B5EF4-FFF2-40B4-BE49-F238E27FC236}">
                <a16:creationId xmlns:a16="http://schemas.microsoft.com/office/drawing/2014/main" id="{A1552364-9EBD-4053-2F7E-7872EF21106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83124" y="1244600"/>
            <a:ext cx="10515600" cy="2184400"/>
          </a:xfrm>
        </p:spPr>
      </p:pic>
      <p:pic>
        <p:nvPicPr>
          <p:cNvPr id="7" name="Obrázek 6">
            <a:extLst>
              <a:ext uri="{FF2B5EF4-FFF2-40B4-BE49-F238E27FC236}">
                <a16:creationId xmlns:a16="http://schemas.microsoft.com/office/drawing/2014/main" id="{176C2A30-A10B-E63F-B22C-746DC0E73A9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8200" y="3202437"/>
            <a:ext cx="4704184" cy="3658265"/>
          </a:xfrm>
          <a:prstGeom prst="rect">
            <a:avLst/>
          </a:prstGeom>
        </p:spPr>
      </p:pic>
      <p:pic>
        <p:nvPicPr>
          <p:cNvPr id="9" name="Obrázek 8">
            <a:extLst>
              <a:ext uri="{FF2B5EF4-FFF2-40B4-BE49-F238E27FC236}">
                <a16:creationId xmlns:a16="http://schemas.microsoft.com/office/drawing/2014/main" id="{AD0DB9D2-370D-51CF-AEB4-2D407C40EE3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08699" y="626525"/>
            <a:ext cx="6183301" cy="4203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208670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822473A-7225-B91B-D531-0382CA52AB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cs-CZ" b="1" u="sng" dirty="0"/>
              <a:t>ZADÁNÍ CVIČENÍ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C2CF8EE3-EA47-1AC6-C1F6-CB28FF2FAC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949450"/>
            <a:ext cx="10515600" cy="4351338"/>
          </a:xfrm>
        </p:spPr>
        <p:txBody>
          <a:bodyPr>
            <a:normAutofit/>
          </a:bodyPr>
          <a:lstStyle/>
          <a:p>
            <a:r>
              <a:rPr lang="cs-CZ" sz="2400" dirty="0"/>
              <a:t>Vyberte si nějaké sídliště v českém městě, na velikosti města úplně nezáleží. Musí se však jedna o sídliště, ne solitérní budovu.</a:t>
            </a:r>
          </a:p>
          <a:p>
            <a:endParaRPr lang="cs-CZ" sz="2400" dirty="0"/>
          </a:p>
          <a:p>
            <a:r>
              <a:rPr lang="cs-CZ" sz="2400" dirty="0"/>
              <a:t>Zpracujte analýzu daného sídliště:</a:t>
            </a:r>
          </a:p>
          <a:p>
            <a:pPr lvl="1"/>
            <a:r>
              <a:rPr lang="cs-CZ" sz="2000" dirty="0"/>
              <a:t>Pokuste se najít obecné informace o vzniku sídliště.</a:t>
            </a:r>
          </a:p>
          <a:p>
            <a:pPr lvl="1"/>
            <a:r>
              <a:rPr lang="cs-CZ" sz="2000" dirty="0"/>
              <a:t>Okomentuje a blíže přibližte velikost sídliště.</a:t>
            </a:r>
          </a:p>
          <a:p>
            <a:pPr lvl="1"/>
            <a:r>
              <a:rPr lang="cs-CZ" sz="2000" dirty="0"/>
              <a:t>Jsou informace o tom, zda se jednalo o podnikové x běžné sídliště?</a:t>
            </a:r>
          </a:p>
          <a:p>
            <a:pPr lvl="1"/>
            <a:r>
              <a:rPr lang="cs-CZ" sz="2000" dirty="0"/>
              <a:t>Jedná se o sídliště na zelené louce x vzniklé díky asanaci.</a:t>
            </a:r>
          </a:p>
          <a:p>
            <a:pPr lvl="1"/>
            <a:r>
              <a:rPr lang="cs-CZ" sz="2000" dirty="0"/>
              <a:t>Dopravní napojení, pozice ve městě, vybavenost sídliště službami.</a:t>
            </a:r>
          </a:p>
          <a:p>
            <a:pPr lvl="1"/>
            <a:r>
              <a:rPr lang="cs-CZ" sz="2000" dirty="0"/>
              <a:t>Jakým způsobem se sídliště proměnilo do současnosti?</a:t>
            </a:r>
          </a:p>
          <a:p>
            <a:pPr lvl="1"/>
            <a:r>
              <a:rPr lang="cs-CZ" sz="2000" dirty="0"/>
              <a:t>Osobní hodnocení – je to nonsens, nebo nejlepší projekt v dějinách obce?</a:t>
            </a:r>
          </a:p>
        </p:txBody>
      </p:sp>
    </p:spTree>
    <p:extLst>
      <p:ext uri="{BB962C8B-B14F-4D97-AF65-F5344CB8AC3E}">
        <p14:creationId xmlns:p14="http://schemas.microsoft.com/office/powerpoint/2010/main" val="27839838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45fb4870-e8c9-4f9e-95f4-cc79c406e0f1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9E287AF66F725F488780A43562BAF94A" ma:contentTypeVersion="10" ma:contentTypeDescription="Vytvoří nový dokument" ma:contentTypeScope="" ma:versionID="137abefaaf3957ba0f3698cd9721dd70">
  <xsd:schema xmlns:xsd="http://www.w3.org/2001/XMLSchema" xmlns:xs="http://www.w3.org/2001/XMLSchema" xmlns:p="http://schemas.microsoft.com/office/2006/metadata/properties" xmlns:ns3="2b2ac763-2a82-42d3-894b-8c19e4f57a2a" xmlns:ns4="45fb4870-e8c9-4f9e-95f4-cc79c406e0f1" targetNamespace="http://schemas.microsoft.com/office/2006/metadata/properties" ma:root="true" ma:fieldsID="3817fa790c39be2a5a68303585f60200" ns3:_="" ns4:_="">
    <xsd:import namespace="2b2ac763-2a82-42d3-894b-8c19e4f57a2a"/>
    <xsd:import namespace="45fb4870-e8c9-4f9e-95f4-cc79c406e0f1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_activity" minOccurs="0"/>
                <xsd:element ref="ns4:MediaServiceObjectDetectorVersions" minOccurs="0"/>
                <xsd:element ref="ns4:MediaServiceGenerationTime" minOccurs="0"/>
                <xsd:element ref="ns4:MediaServiceEventHashCode" minOccurs="0"/>
                <xsd:element ref="ns4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b2ac763-2a82-42d3-894b-8c19e4f57a2a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dílí se s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dílené s podrobnostmi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Hodnota hash upozornění na sdílení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5fb4870-e8c9-4f9e-95f4-cc79c406e0f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_activity" ma:index="13" nillable="true" ma:displayName="_activity" ma:hidden="true" ma:internalName="_activity">
      <xsd:simpleType>
        <xsd:restriction base="dms:Note"/>
      </xsd:simpleType>
    </xsd:element>
    <xsd:element name="MediaServiceObjectDetectorVersions" ma:index="1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 obsahu"/>
        <xsd:element ref="dc:title" minOccurs="0" maxOccurs="1" ma:index="4" ma:displayName="Nadpis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944E47F-66AF-4A9D-BBDF-3AB9ED0F9A9F}">
  <ds:schemaRefs>
    <ds:schemaRef ds:uri="http://purl.org/dc/elements/1.1/"/>
    <ds:schemaRef ds:uri="http://schemas.openxmlformats.org/package/2006/metadata/core-properties"/>
    <ds:schemaRef ds:uri="http://schemas.microsoft.com/office/2006/metadata/properties"/>
    <ds:schemaRef ds:uri="http://www.w3.org/XML/1998/namespace"/>
    <ds:schemaRef ds:uri="http://schemas.microsoft.com/office/2006/documentManagement/types"/>
    <ds:schemaRef ds:uri="http://purl.org/dc/dcmitype/"/>
    <ds:schemaRef ds:uri="45fb4870-e8c9-4f9e-95f4-cc79c406e0f1"/>
    <ds:schemaRef ds:uri="http://schemas.microsoft.com/office/infopath/2007/PartnerControls"/>
    <ds:schemaRef ds:uri="2b2ac763-2a82-42d3-894b-8c19e4f57a2a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C3A0BC71-2ECF-48AB-843D-7A78EB6035D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b2ac763-2a82-42d3-894b-8c19e4f57a2a"/>
    <ds:schemaRef ds:uri="45fb4870-e8c9-4f9e-95f4-cc79c406e0f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35300AB4-CEC1-4263-B5E5-024450654045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11904f23-f0db-4cdc-96f7-390bd55fcee8}" enabled="0" method="" siteId="{11904f23-f0db-4cdc-96f7-390bd55fcee8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2496</TotalTime>
  <Words>631</Words>
  <Application>Microsoft Office PowerPoint</Application>
  <PresentationFormat>Širokoúhlá obrazovka</PresentationFormat>
  <Paragraphs>82</Paragraphs>
  <Slides>11</Slides>
  <Notes>0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11</vt:i4>
      </vt:variant>
    </vt:vector>
  </HeadingPairs>
  <TitlesOfParts>
    <vt:vector size="15" baseType="lpstr">
      <vt:lpstr>Arial</vt:lpstr>
      <vt:lpstr>Calibri</vt:lpstr>
      <vt:lpstr>Calibri Light</vt:lpstr>
      <vt:lpstr>Motiv Office</vt:lpstr>
      <vt:lpstr>ÚZEMNÍ PLÁNOVÁNÍ A URBANISMUS</vt:lpstr>
      <vt:lpstr>K. TEIGE – MINIMÁLNÍ BYT A KOLEKTIVNÍ DŮM</vt:lpstr>
      <vt:lpstr>PANELOVÁ SÍDLIŠTĚ</vt:lpstr>
      <vt:lpstr>Prezentace aplikace PowerPoint</vt:lpstr>
      <vt:lpstr>Prezentace aplikace PowerPoint</vt:lpstr>
      <vt:lpstr>Prezentace aplikace PowerPoint</vt:lpstr>
      <vt:lpstr>K přečtení… </vt:lpstr>
      <vt:lpstr>PANELAKY.INFO</vt:lpstr>
      <vt:lpstr>ZADÁNÍ CVIČENÍ</vt:lpstr>
      <vt:lpstr>Prezentace aplikace PowerPoint</vt:lpstr>
      <vt:lpstr>DĚKUJI ZA POZORNOS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David Gorný</dc:creator>
  <cp:lastModifiedBy>David Gorný</cp:lastModifiedBy>
  <cp:revision>28</cp:revision>
  <dcterms:created xsi:type="dcterms:W3CDTF">2023-09-25T06:18:52Z</dcterms:created>
  <dcterms:modified xsi:type="dcterms:W3CDTF">2023-11-13T14:21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E287AF66F725F488780A43562BAF94A</vt:lpwstr>
  </property>
</Properties>
</file>